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247_9B73341F.xml" ContentType="application/vnd.ms-powerpoint.comments+xml"/>
  <Override PartName="/ppt/comments/modernComment_271_8193E601.xml" ContentType="application/vnd.ms-powerpoint.comments+xml"/>
  <Override PartName="/ppt/notesSlides/notesSlide2.xml" ContentType="application/vnd.openxmlformats-officedocument.presentationml.notesSlide+xml"/>
  <Override PartName="/ppt/comments/modernComment_1C1D_70D06630.xml" ContentType="application/vnd.ms-powerpoint.comments+xml"/>
  <Override PartName="/ppt/comments/modernComment_1C1F_61AB9BC.xml" ContentType="application/vnd.ms-powerpoint.comments+xml"/>
  <Override PartName="/ppt/notesSlides/notesSlide3.xml" ContentType="application/vnd.openxmlformats-officedocument.presentationml.notesSlide+xml"/>
  <Override PartName="/ppt/comments/modernComment_1C20_29AB0400.xml" ContentType="application/vnd.ms-powerpoint.comments+xml"/>
  <Override PartName="/ppt/comments/modernComment_1067_2E3B891D.xml" ContentType="application/vnd.ms-powerpoint.comments+xml"/>
  <Override PartName="/ppt/comments/modernComment_1C22_8FE4B80E.xml" ContentType="application/vnd.ms-powerpoint.comments+xml"/>
  <Override PartName="/ppt/comments/modernComment_1C23_EF0547E6.xml" ContentType="application/vnd.ms-powerpoint.comments+xml"/>
  <Override PartName="/ppt/comments/modernComment_1C24_3061C0EE.xml" ContentType="application/vnd.ms-powerpoint.comments+xml"/>
  <Override PartName="/ppt/comments/modernComment_1100_1C3E5FB2.xml" ContentType="application/vnd.ms-powerpoint.comments+xml"/>
  <Override PartName="/ppt/comments/modernComment_7FFE6032_1630A586.xml" ContentType="application/vnd.ms-powerpoint.comments+xml"/>
  <Override PartName="/ppt/comments/modernComment_1C26_2812D1C3.xml" ContentType="application/vnd.ms-powerpoint.comment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omments/modernComment_3514_2FD87B9B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7"/>
  </p:notesMasterIdLst>
  <p:sldIdLst>
    <p:sldId id="256" r:id="rId5"/>
    <p:sldId id="13576" r:id="rId6"/>
    <p:sldId id="13577" r:id="rId7"/>
    <p:sldId id="13657" r:id="rId8"/>
    <p:sldId id="13579" r:id="rId9"/>
    <p:sldId id="583" r:id="rId10"/>
    <p:sldId id="625" r:id="rId11"/>
    <p:sldId id="7197" r:id="rId12"/>
    <p:sldId id="4200" r:id="rId13"/>
    <p:sldId id="4365" r:id="rId14"/>
    <p:sldId id="7199" r:id="rId15"/>
    <p:sldId id="7200" r:id="rId16"/>
    <p:sldId id="4199" r:id="rId17"/>
    <p:sldId id="7202" r:id="rId18"/>
    <p:sldId id="7203" r:id="rId19"/>
    <p:sldId id="7204" r:id="rId20"/>
    <p:sldId id="4352" r:id="rId21"/>
    <p:sldId id="2147377202" r:id="rId22"/>
    <p:sldId id="7206" r:id="rId23"/>
    <p:sldId id="13587" r:id="rId24"/>
    <p:sldId id="2147377201" r:id="rId25"/>
    <p:sldId id="13588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42AAA5B-4D39-0499-ED00-5BB7ECC477B4}" name="Popovic, Branko /DE" initials="PB/" userId="S::Branko.Popovic@sanofi.com::1bc4e505-0fa0-4500-a521-42dabbaf1e71" providerId="AD"/>
  <p188:author id="{FFE47EE6-A2F0-13A5-8EE8-3661DB1849A6}" name="Medical Writer" initials="MW" userId="Medical Writer" providerId="None"/>
  <p188:author id="{872118F9-1E13-40F3-99EA-D82307A63115}" name="Zakithi Mkhize" initials="ZM" userId="S::Zakithi.Mkhize@ashfieldmedcomms.com::ab03e905-93f1-47ac-bc1e-35b2bac592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B90579-72A7-13B0-4F16-63D8748A1C24}" v="1" dt="2023-09-14T08:11:22.8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78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andari, Swati /IN" userId="S::swati.bhandari@sanofi.com::13333ca9-377b-4710-a300-7add9d57d09b" providerId="AD" clId="Web-{4FB90579-72A7-13B0-4F16-63D8748A1C24}"/>
    <pc:docChg chg="mod modMainMaster">
      <pc:chgData name="Bhandari, Swati /IN" userId="S::swati.bhandari@sanofi.com::13333ca9-377b-4710-a300-7add9d57d09b" providerId="AD" clId="Web-{4FB90579-72A7-13B0-4F16-63D8748A1C24}" dt="2023-09-14T08:11:22.821" v="2"/>
      <pc:docMkLst>
        <pc:docMk/>
      </pc:docMkLst>
      <pc:sldChg chg="delCm">
        <pc:chgData name="Bhandari, Swati /IN" userId="S::swati.bhandari@sanofi.com::13333ca9-377b-4710-a300-7add9d57d09b" providerId="AD" clId="Web-{4FB90579-72A7-13B0-4F16-63D8748A1C24}" dt="2023-09-14T08:11:22.821" v="2"/>
        <pc:sldMkLst>
          <pc:docMk/>
          <pc:sldMk cId="3798958950" sldId="25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Bhandari, Swati /IN" userId="S::swati.bhandari@sanofi.com::13333ca9-377b-4710-a300-7add9d57d09b" providerId="AD" clId="Web-{4FB90579-72A7-13B0-4F16-63D8748A1C24}" dt="2023-09-14T08:11:22.821" v="2"/>
              <pc2:cmMkLst xmlns:pc2="http://schemas.microsoft.com/office/powerpoint/2019/9/main/command">
                <pc:docMk/>
                <pc:sldMk cId="3798958950" sldId="256"/>
                <pc2:cmMk id="{9F2210D4-2CE5-414E-860C-5C10C824684F}"/>
              </pc2:cmMkLst>
            </pc226:cmChg>
          </p:ext>
        </pc:extLst>
      </pc:sldChg>
      <pc:sldMasterChg chg="addSp">
        <pc:chgData name="Bhandari, Swati /IN" userId="S::swati.bhandari@sanofi.com::13333ca9-377b-4710-a300-7add9d57d09b" providerId="AD" clId="Web-{4FB90579-72A7-13B0-4F16-63D8748A1C24}" dt="2023-09-14T08:11:17.118" v="0" actId="33475"/>
        <pc:sldMasterMkLst>
          <pc:docMk/>
          <pc:sldMasterMk cId="3806124759" sldId="2147483660"/>
        </pc:sldMasterMkLst>
        <pc:spChg chg="add">
          <ac:chgData name="Bhandari, Swati /IN" userId="S::swati.bhandari@sanofi.com::13333ca9-377b-4710-a300-7add9d57d09b" providerId="AD" clId="Web-{4FB90579-72A7-13B0-4F16-63D8748A1C24}" dt="2023-09-14T08:11:17.118" v="0" actId="33475"/>
          <ac:spMkLst>
            <pc:docMk/>
            <pc:sldMasterMk cId="3806124759" sldId="2147483660"/>
            <ac:spMk id="10" creationId="{CA7C677B-E229-1D21-4DF4-71CD5902109A}"/>
          </ac:spMkLst>
        </pc:spChg>
      </pc:sldMasterChg>
    </pc:docChg>
  </pc:docChgLst>
  <pc:docChgLst>
    <pc:chgData name="Mali, Yogesh /IN" userId="88c8778e-5c02-4a2e-8672-440832e2f998" providerId="ADAL" clId="{A1BE40A2-67FE-406D-8FAF-BD61F67E2287}"/>
    <pc:docChg chg="modSld">
      <pc:chgData name="Mali, Yogesh /IN" userId="88c8778e-5c02-4a2e-8672-440832e2f998" providerId="ADAL" clId="{A1BE40A2-67FE-406D-8FAF-BD61F67E2287}" dt="2023-06-20T10:10:20.189" v="7" actId="20577"/>
      <pc:docMkLst>
        <pc:docMk/>
      </pc:docMkLst>
      <pc:sldChg chg="modSp mod">
        <pc:chgData name="Mali, Yogesh /IN" userId="88c8778e-5c02-4a2e-8672-440832e2f998" providerId="ADAL" clId="{A1BE40A2-67FE-406D-8FAF-BD61F67E2287}" dt="2023-06-20T10:10:20.189" v="7" actId="20577"/>
        <pc:sldMkLst>
          <pc:docMk/>
          <pc:sldMk cId="3798958950" sldId="256"/>
        </pc:sldMkLst>
        <pc:spChg chg="mod">
          <ac:chgData name="Mali, Yogesh /IN" userId="88c8778e-5c02-4a2e-8672-440832e2f998" providerId="ADAL" clId="{A1BE40A2-67FE-406D-8FAF-BD61F67E2287}" dt="2023-06-20T10:10:20.189" v="7" actId="20577"/>
          <ac:spMkLst>
            <pc:docMk/>
            <pc:sldMk cId="3798958950" sldId="256"/>
            <ac:spMk id="8" creationId="{77D2D93B-0F64-462E-1EBC-DBD13646670B}"/>
          </ac:spMkLst>
        </pc:spChg>
      </pc:sldChg>
    </pc:docChg>
  </pc:docChgLst>
</pc:chgInfo>
</file>

<file path=ppt/comments/modernComment_1067_2E3B891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64009B5-CFB8-4953-ABA1-53BB7547B9A1}" authorId="{FFE47EE6-A2F0-13A5-8EE8-3661DB1849A6}" created="2023-06-19T15:56:51.06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775653661" sldId="4199"/>
      <ac:spMk id="2" creationId="{DF03E40B-3884-7B1C-E48F-CBB34A5A3B0C}"/>
      <ac:txMk cp="44" len="5">
        <ac:context len="67" hash="2067366016"/>
      </ac:txMk>
    </ac:txMkLst>
    <p188:pos x="8960550" y="278781"/>
    <p188:replyLst>
      <p188:reply id="{E791847A-600B-4AAE-A4BC-4F3DD6EA1E54}" authorId="{FFE47EE6-A2F0-13A5-8EE8-3661DB1849A6}" created="2023-06-19T15:56:59.807">
        <p188:txBody>
          <a:bodyPr/>
          <a:lstStyle/>
          <a:p>
            <a:r>
              <a:rPr lang="en-GB"/>
              <a:t>Amended as requested</a:t>
            </a:r>
          </a:p>
        </p188:txBody>
      </p188:reply>
      <p188:reply id="{94288257-8882-40AE-9861-7CE086E7AC64}" authorId="{FFE47EE6-A2F0-13A5-8EE8-3661DB1849A6}" created="2023-06-20T08:52:18.372">
        <p188:txBody>
          <a:bodyPr/>
          <a:lstStyle/>
          <a:p>
            <a:r>
              <a:rPr lang="en-GB"/>
              <a:t>Footnote updated</a:t>
            </a:r>
          </a:p>
        </p188:txBody>
      </p188:reply>
    </p188:replyLst>
    <p188:txBody>
      <a:bodyPr/>
      <a:lstStyle/>
      <a:p>
        <a:r>
          <a:rPr lang="en-GB"/>
          <a:t>1. MALFD:
Mandatory MAFLD [Thomas Pongratz]</a:t>
        </a:r>
      </a:p>
    </p188:txBody>
  </p188:cm>
</p188:cmLst>
</file>

<file path=ppt/comments/modernComment_1100_1C3E5FB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CA3E862-6E7A-4390-B28E-CF3570FD8DE4}" authorId="{FFE47EE6-A2F0-13A5-8EE8-3661DB1849A6}" created="2023-06-19T15:19:19.54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73849778" sldId="4352"/>
      <ac:spMk id="15" creationId="{EFD351BD-993F-23C1-CD32-BAAC67887536}"/>
    </ac:deMkLst>
    <p188:txBody>
      <a:bodyPr/>
      <a:lstStyle/>
      <a:p>
        <a:r>
          <a:rPr lang="en-GB"/>
          <a:t>Reference amended</a:t>
        </a:r>
      </a:p>
    </p188:txBody>
  </p188:cm>
  <p188:cm id="{DA7BEDC0-8A7D-4E4E-8F82-D0B0CBFD296E}" authorId="{FFE47EE6-A2F0-13A5-8EE8-3661DB1849A6}" created="2023-06-20T08:53:04.95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73849778" sldId="4352"/>
      <ac:spMk id="15" creationId="{EFD351BD-993F-23C1-CD32-BAAC67887536}"/>
      <ac:txMk cp="0" len="3">
        <ac:context len="59" hash="2399999266"/>
      </ac:txMk>
    </ac:txMkLst>
    <p188:pos x="309561" y="267199"/>
    <p188:txBody>
      <a:bodyPr/>
      <a:lstStyle/>
      <a:p>
        <a:r>
          <a:rPr lang="en-GB"/>
          <a:t>NIT added in footnote</a:t>
        </a:r>
      </a:p>
    </p188:txBody>
  </p188:cm>
</p188:cmLst>
</file>

<file path=ppt/comments/modernComment_1C1D_70D0663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04B6EC-167B-478D-8422-A38DB52AEA33}" authorId="{FFE47EE6-A2F0-13A5-8EE8-3661DB1849A6}" created="2023-06-19T15:31:38.14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892705840" sldId="7197"/>
      <ac:spMk id="8" creationId="{DFAC4DF8-1E2C-7209-AF26-9DADFF5AC571}"/>
      <ac:txMk cp="19" len="14">
        <ac:context len="48" hash="1991654781"/>
      </ac:txMk>
    </ac:txMkLst>
    <p188:pos x="5805368" y="276525"/>
    <p188:replyLst>
      <p188:reply id="{D4899F2F-6550-4396-A27F-521977F6BCCA}" authorId="{FFE47EE6-A2F0-13A5-8EE8-3661DB1849A6}" created="2023-06-19T15:42:42.029">
        <p188:txBody>
          <a:bodyPr/>
          <a:lstStyle/>
          <a:p>
            <a:r>
              <a:rPr lang="en-GB"/>
              <a:t>Reference added as requested</a:t>
            </a:r>
          </a:p>
        </p188:txBody>
      </p188:reply>
    </p188:replyLst>
    <p188:txBody>
      <a:bodyPr/>
      <a:lstStyle/>
      <a:p>
        <a:r>
          <a:rPr lang="en-GB"/>
          <a:t>1. quantification
Latest EASL 2021 Guidelines on NIT for liver
disease diagnosis should be added here as a
reference [Branko Popović]</a:t>
        </a:r>
      </a:p>
    </p188:txBody>
  </p188:cm>
</p188:cmLst>
</file>

<file path=ppt/comments/modernComment_1C1F_61AB9B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6A9EEB-DD94-4B0A-AEDA-F855AF9C15BF}" authorId="{FFE47EE6-A2F0-13A5-8EE8-3661DB1849A6}" created="2023-06-19T15:58:00.68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02414780" sldId="7199"/>
      <ac:spMk id="10" creationId="{6F0567BC-A8CC-13FF-AA17-AAB31FD80D07}"/>
    </ac:deMkLst>
    <p188:txBody>
      <a:bodyPr/>
      <a:lstStyle/>
      <a:p>
        <a:r>
          <a:rPr lang="en-GB"/>
          <a:t>MAFLD</a:t>
        </a:r>
      </a:p>
    </p188:txBody>
  </p188:cm>
</p188:cmLst>
</file>

<file path=ppt/comments/modernComment_1C20_29AB040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DD2E667-4EF9-47A0-BC50-828646D3D86C}" authorId="{FFE47EE6-A2F0-13A5-8EE8-3661DB1849A6}" created="2023-06-19T15:50:58.38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99073536" sldId="7200"/>
      <ac:spMk id="7" creationId="{12B34210-D453-8F41-BE04-90DD7D3AC332}"/>
      <ac:txMk cp="36" len="4">
        <ac:context len="65" hash="2719258169"/>
      </ac:txMk>
    </ac:txMkLst>
    <p188:pos x="977208" y="533181"/>
    <p188:replyLst>
      <p188:reply id="{B32B42AE-A7C5-4F33-83EE-5C04420E3DDA}" authorId="{FFE47EE6-A2F0-13A5-8EE8-3661DB1849A6}" created="2023-06-19T15:55:52.215">
        <p188:txBody>
          <a:bodyPr/>
          <a:lstStyle/>
          <a:p>
            <a:r>
              <a:rPr lang="en-GB"/>
              <a:t>Many thanks for your comment - on further investigation it seems that NIS-4 is a proprietary name for a blood-based biomarker panel, and not an acronym. We have amended the footnote to make this point clear. </a:t>
            </a:r>
          </a:p>
        </p188:txBody>
      </p188:reply>
    </p188:replyLst>
    <p188:txBody>
      <a:bodyPr/>
      <a:lstStyle/>
      <a:p>
        <a:r>
          <a:rPr lang="en-GB"/>
          <a:t>1. NIS4
Optional Could we spell out the abbreviation and
pout the abbreviation in brackets behind??
[Thomas Pongratz]</a:t>
        </a:r>
      </a:p>
    </p188:txBody>
  </p188:cm>
  <p188:cm id="{5305FEEA-3734-4603-B78E-5A83F468A554}" authorId="{FFE47EE6-A2F0-13A5-8EE8-3661DB1849A6}" created="2023-06-19T15:56:27.59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99073536" sldId="7200"/>
      <ac:spMk id="9" creationId="{B1F3E86A-CEBD-1144-92A4-AD0791BEB8C1}"/>
    </ac:deMkLst>
    <p188:replyLst>
      <p188:reply id="{CEADFEB1-96F5-412F-921D-A4E8750961CB}" authorId="{FFE47EE6-A2F0-13A5-8EE8-3661DB1849A6}" created="2023-06-19T15:56:33.237">
        <p188:txBody>
          <a:bodyPr/>
          <a:lstStyle/>
          <a:p>
            <a:r>
              <a:rPr lang="en-GB"/>
              <a:t>Amended as requested</a:t>
            </a:r>
          </a:p>
        </p188:txBody>
      </p188:reply>
    </p188:replyLst>
    <p188:txBody>
      <a:bodyPr/>
      <a:lstStyle/>
      <a:p>
        <a:r>
          <a:rPr lang="en-GB"/>
          <a:t>2. )
Optional add registered trademark sign in
superscript [Thomas Pongratz]</a:t>
        </a:r>
      </a:p>
    </p188:txBody>
  </p188:cm>
</p188:cmLst>
</file>

<file path=ppt/comments/modernComment_1C22_8FE4B80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3E571A1-C8F5-45C3-BAC4-9A27375D1429}" authorId="{FFE47EE6-A2F0-13A5-8EE8-3661DB1849A6}" created="2023-06-19T15:58:27.27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414131214" sldId="7202"/>
      <ac:spMk id="2" creationId="{45722C8F-03B2-E84B-7142-D852F46F2C85}"/>
    </ac:deMkLst>
    <p188:replyLst>
      <p188:reply id="{A78ECB27-69B4-4A74-BB21-512D20A3EB9C}" authorId="{FFE47EE6-A2F0-13A5-8EE8-3661DB1849A6}" created="2023-06-19T15:58:32.708">
        <p188:txBody>
          <a:bodyPr/>
          <a:lstStyle/>
          <a:p>
            <a:r>
              <a:rPr lang="en-GB"/>
              <a:t>Amended as requested</a:t>
            </a:r>
          </a:p>
        </p188:txBody>
      </p188:reply>
    </p188:replyLst>
    <p188:txBody>
      <a:bodyPr/>
      <a:lstStyle/>
      <a:p>
        <a:r>
          <a:rPr lang="en-GB"/>
          <a:t>1. (FibroScan®)
Mandatory Pit trademark in superscript [Thomas
Pongratz]</a:t>
        </a:r>
      </a:p>
    </p188:txBody>
  </p188:cm>
  <p188:cm id="{5F90BCC2-BA06-405F-9F79-21E123EF6512}" authorId="{FFE47EE6-A2F0-13A5-8EE8-3661DB1849A6}" created="2023-06-19T15:59:29.85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414131214" sldId="7202"/>
      <ac:spMk id="29" creationId="{AE637A76-B178-E944-9EE8-64F37534F553}"/>
      <ac:txMk cp="238" len="114">
        <ac:context len="370" hash="3743048293"/>
      </ac:txMk>
    </ac:txMkLst>
    <p188:pos x="10230693" y="1464798"/>
    <p188:replyLst>
      <p188:reply id="{0B936700-0D77-4FFB-A4D0-A75624357C9B}" authorId="{FFE47EE6-A2F0-13A5-8EE8-3661DB1849A6}" created="2023-06-20T08:56:28.352">
        <p188:txBody>
          <a:bodyPr/>
          <a:lstStyle/>
          <a:p>
            <a:r>
              <a:rPr lang="en-GB"/>
              <a:t>Hanging indent created for final bullet as requested</a:t>
            </a:r>
          </a:p>
        </p188:txBody>
      </p188:reply>
    </p188:replyLst>
    <p188:txBody>
      <a:bodyPr/>
      <a:lstStyle/>
      <a:p>
        <a:r>
          <a:rPr lang="en-GB"/>
          <a:t>2. An increase of liver stiffness of 20% may be
associated with disease progression and
worsened
lon...
Mandatory negative indent [Thomas Pongratz]</a:t>
        </a:r>
      </a:p>
    </p188:txBody>
  </p188:cm>
</p188:cmLst>
</file>

<file path=ppt/comments/modernComment_1C23_EF0547E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ED86871-C321-4CF4-BD94-A44FAB16D995}" authorId="{FFE47EE6-A2F0-13A5-8EE8-3661DB1849A6}" created="2023-06-19T16:07:47.14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010100710" sldId="7203"/>
      <ac:spMk id="4" creationId="{7A4816B3-1866-42E8-65ED-81E788D6E70A}"/>
      <ac:txMk cp="0" len="3">
        <ac:context len="33" hash="670560894"/>
      </ac:txMk>
    </ac:txMkLst>
    <p188:pos x="901772" y="276525"/>
    <p188:replyLst>
      <p188:reply id="{1F48417E-3C01-4475-B189-89ABCB56983E}" authorId="{FFE47EE6-A2F0-13A5-8EE8-3661DB1849A6}" created="2023-06-19T16:08:44.386">
        <p188:txBody>
          <a:bodyPr/>
          <a:lstStyle/>
          <a:p>
            <a:r>
              <a:rPr lang="en-GB"/>
              <a:t>Amended as requested</a:t>
            </a:r>
          </a:p>
        </p188:txBody>
      </p188:reply>
    </p188:replyLst>
    <p188:txBody>
      <a:bodyPr/>
      <a:lstStyle/>
      <a:p>
        <a:r>
          <a:rPr lang="en-GB"/>
          <a:t>MRE:
Mandatory Add abbreviation to footnotes
[Thomas Pongratz]</a:t>
        </a:r>
      </a:p>
    </p188:txBody>
  </p188:cm>
</p188:cmLst>
</file>

<file path=ppt/comments/modernComment_1C24_3061C0E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510D4C-0089-4D89-97A0-66ECC9D39364}" authorId="{FFE47EE6-A2F0-13A5-8EE8-3661DB1849A6}" created="2023-06-19T16:09:21.58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811712750" sldId="7204"/>
      <ac:graphicFrameMk id="2" creationId="{2446358D-CD39-F849-9096-048507367ECA}"/>
    </ac:deMkLst>
    <p188:replyLst>
      <p188:reply id="{E367BDEF-11D0-479D-9D27-92CBC771F3E2}" authorId="{FFE47EE6-A2F0-13A5-8EE8-3661DB1849A6}" created="2023-06-19T16:17:12.481">
        <p188:txBody>
          <a:bodyPr/>
          <a:lstStyle/>
          <a:p>
            <a:r>
              <a:rPr lang="en-GB"/>
              <a:t>Apologies for the oversight - amended as requeested</a:t>
            </a:r>
          </a:p>
        </p188:txBody>
      </p188:reply>
    </p188:replyLst>
    <p188:txBody>
      <a:bodyPr/>
      <a:lstStyle/>
      <a:p>
        <a:r>
          <a:rPr lang="en-GB"/>
          <a:t>1. Test MRE Requirements Components
FAST Blood test
and imaging AST, VCTE, CAP (≥ 0.67-≤ 0.35)
MAST...
Mandatory Add abbreviations to footnote
[Thomas Pongratz]</a:t>
        </a:r>
      </a:p>
    </p188:txBody>
  </p188:cm>
</p188:cmLst>
</file>

<file path=ppt/comments/modernComment_1C26_2812D1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FB5089-23D4-4940-934B-74BA1C92D304}" authorId="{FFE47EE6-A2F0-13A5-8EE8-3661DB1849A6}" created="2023-06-19T16:22:24.163">
    <pc:sldMkLst xmlns:pc="http://schemas.microsoft.com/office/powerpoint/2013/main/command">
      <pc:docMk/>
      <pc:sldMk cId="672321987" sldId="7206"/>
    </pc:sldMkLst>
    <p188:replyLst>
      <p188:reply id="{74C04369-2385-45FF-883B-FB7DA1702A09}" authorId="{FFE47EE6-A2F0-13A5-8EE8-3661DB1849A6}" created="2023-06-19T16:22:47.039">
        <p188:txBody>
          <a:bodyPr/>
          <a:lstStyle/>
          <a:p>
            <a:r>
              <a:rPr lang="en-GB"/>
              <a:t>Amended as requested </a:t>
            </a:r>
          </a:p>
        </p188:txBody>
      </p188:reply>
    </p188:replyLst>
    <p188:txBody>
      <a:bodyPr/>
      <a:lstStyle/>
      <a:p>
        <a:r>
          <a:rPr lang="en-GB"/>
          <a:t>Mandatory Add abbreviations to footnote!
[Thomas Pongratz]</a:t>
        </a:r>
      </a:p>
    </p188:txBody>
  </p188:cm>
  <p188:cm id="{C110DCA3-604A-433C-81EB-A9F3E24157DA}" authorId="{FFE47EE6-A2F0-13A5-8EE8-3661DB1849A6}" created="2023-06-19T16:26:18.63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72321987" sldId="7206"/>
      <ac:spMk id="6" creationId="{F77DA81B-F822-B94A-8AF3-4437A9A3D7ED}"/>
    </ac:deMkLst>
    <p188:replyLst>
      <p188:reply id="{2B35E1C0-F43F-4E77-9F43-57B230CA2D5F}" authorId="{FFE47EE6-A2F0-13A5-8EE8-3661DB1849A6}" created="2023-06-19T16:26:26.551">
        <p188:txBody>
          <a:bodyPr/>
          <a:lstStyle/>
          <a:p>
            <a:r>
              <a:rPr lang="en-GB"/>
              <a:t>Amended as requested</a:t>
            </a:r>
          </a:p>
        </p188:txBody>
      </p188:reply>
    </p188:replyLst>
    <p188:txBody>
      <a:bodyPr/>
      <a:lstStyle/>
      <a:p>
        <a:r>
          <a:rPr lang="en-GB"/>
          <a:t>2. T2D
Mandatory T2DM for consistency with other slides
[Thomas Pongratz]</a:t>
        </a:r>
      </a:p>
    </p188:txBody>
  </p188:cm>
</p188:cmLst>
</file>

<file path=ppt/comments/modernComment_247_9B73341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29314C5-9888-401F-90EC-9994206C2D9B}" authorId="{FFE47EE6-A2F0-13A5-8EE8-3661DB1849A6}" created="2023-06-19T15:30:17.61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08018463" sldId="583"/>
      <ac:spMk id="14" creationId="{ABE95F87-1C8A-98D0-DE9F-D619F714A642}"/>
      <ac:txMk cp="19" len="5">
        <ac:context len="25" hash="1635695023"/>
      </ac:txMk>
    </ac:txMkLst>
    <p188:pos x="4589517" y="276525"/>
    <p188:replyLst>
      <p188:reply id="{20F0C4D3-D532-4F76-950E-EE8B6CB9D0E3}" authorId="{FFE47EE6-A2F0-13A5-8EE8-3661DB1849A6}" created="2023-06-19T15:30:30.729">
        <p188:txBody>
          <a:bodyPr/>
          <a:lstStyle/>
          <a:p>
            <a:r>
              <a:rPr lang="en-GB"/>
              <a:t>Apologies, this has been amended</a:t>
            </a:r>
          </a:p>
        </p188:txBody>
      </p188:reply>
    </p188:replyLst>
    <p188:txBody>
      <a:bodyPr/>
      <a:lstStyle/>
      <a:p>
        <a:r>
          <a:rPr lang="en-GB"/>
          <a:t>1. MALFD
The abbreviation should be: MAFLD across the
document [Branko Popović]</a:t>
        </a:r>
      </a:p>
    </p188:txBody>
  </p188:cm>
  <p188:cm id="{1B79AAE9-8A8D-4A0D-A3F5-3742ECE4980A}" authorId="{FFE47EE6-A2F0-13A5-8EE8-3661DB1849A6}" created="2023-06-19T15:30:51.22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08018463" sldId="583"/>
      <ac:spMk id="12" creationId="{03527E2E-8E04-B5B4-4157-178B9B75CD2F}"/>
      <ac:txMk cp="60" len="5">
        <ac:context len="281" hash="1125970268"/>
      </ac:txMk>
    </ac:txMkLst>
    <p188:pos x="4533652" y="286032"/>
    <p188:replyLst>
      <p188:reply id="{F90D45CC-E7E1-4EC5-832A-BBE218D95FED}" authorId="{FFE47EE6-A2F0-13A5-8EE8-3661DB1849A6}" created="2023-06-19T15:30:57.142">
        <p188:txBody>
          <a:bodyPr/>
          <a:lstStyle/>
          <a:p>
            <a:r>
              <a:rPr lang="en-GB"/>
              <a:t>Amended as requested</a:t>
            </a:r>
          </a:p>
        </p188:txBody>
      </p188:reply>
    </p188:replyLst>
    <p188:txBody>
      <a:bodyPr/>
      <a:lstStyle/>
      <a:p>
        <a:r>
          <a:rPr lang="en-GB"/>
          <a:t>2. metabolic-associated
Mandatory metabolic dysfunction-associated ...
[Thomas Pongratz]</a:t>
        </a:r>
      </a:p>
    </p188:txBody>
  </p188:cm>
</p188:cmLst>
</file>

<file path=ppt/comments/modernComment_271_8193E60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130BB1F-6BC9-41CF-9D03-0C1F4E8D71C4}" authorId="{FFE47EE6-A2F0-13A5-8EE8-3661DB1849A6}" created="2023-06-19T15:57:47.84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73953537" sldId="625"/>
      <ac:spMk id="23" creationId="{2508627B-C581-F9D7-FB14-49C2FEC23960}"/>
      <ac:txMk cp="0" len="5">
        <ac:context len="31" hash="1444560422"/>
      </ac:txMk>
    </ac:txMkLst>
    <p188:pos x="1343899" y="276525"/>
    <p188:txBody>
      <a:bodyPr/>
      <a:lstStyle/>
      <a:p>
        <a:r>
          <a:rPr lang="en-GB"/>
          <a:t>MAFLD</a:t>
        </a:r>
      </a:p>
    </p188:txBody>
  </p188:cm>
</p188:cmLst>
</file>

<file path=ppt/comments/modernComment_3514_2FD87B9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3A43480-B12C-4A99-A120-9221F2EBC0A2}" authorId="{FFE47EE6-A2F0-13A5-8EE8-3661DB1849A6}" created="2023-06-19T15:57:36.62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802716571" sldId="13588"/>
      <ac:spMk id="6" creationId="{6CE6105B-E5D4-4EA1-B0ED-43A82E612282}"/>
      <ac:txMk cp="2" len="5">
        <ac:context len="209" hash="4219644121"/>
      </ac:txMk>
    </ac:txMkLst>
    <p188:pos x="942508" y="460764"/>
    <p188:txBody>
      <a:bodyPr/>
      <a:lstStyle/>
      <a:p>
        <a:r>
          <a:rPr lang="en-GB"/>
          <a:t>MAFLD</a:t>
        </a:r>
      </a:p>
    </p188:txBody>
  </p188:cm>
  <p188:cm id="{7ACAEC96-8511-43FD-A9EB-3FBA9DA5AD4A}" authorId="{FFE47EE6-A2F0-13A5-8EE8-3661DB1849A6}" created="2023-06-19T16:27:00.97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802716571" sldId="13588"/>
      <ac:spMk id="21" creationId="{6FA9A555-EBA1-932A-FEA3-207427C3CE7A}"/>
    </ac:deMkLst>
    <p188:txBody>
      <a:bodyPr/>
      <a:lstStyle/>
      <a:p>
        <a:r>
          <a:rPr lang="en-GB"/>
          <a:t>Non-invasive</a:t>
        </a:r>
      </a:p>
    </p188:txBody>
  </p188:cm>
</p188:cmLst>
</file>

<file path=ppt/comments/modernComment_7FFE6032_1630A5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673A236-0770-4492-925E-EB47BA7119F7}" authorId="{FFE47EE6-A2F0-13A5-8EE8-3661DB1849A6}" created="2023-06-19T16:18:01.44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2286854" sldId="2147377202"/>
      <ac:spMk id="8" creationId="{46D955EF-5A5E-D04B-8961-7051D89C9F0E}"/>
    </ac:deMkLst>
    <p188:replyLst>
      <p188:reply id="{94178D75-3880-4F9D-9E4D-1547F893B6EB}" authorId="{FFE47EE6-A2F0-13A5-8EE8-3661DB1849A6}" created="2023-06-19T16:21:38.442">
        <p188:txBody>
          <a:bodyPr/>
          <a:lstStyle/>
          <a:p>
            <a:r>
              <a:rPr lang="en-GB"/>
              <a:t>Amended as requested </a:t>
            </a:r>
          </a:p>
        </p188:txBody>
      </p188:reply>
    </p188:replyLst>
    <p188:txBody>
      <a:bodyPr/>
      <a:lstStyle/>
      <a:p>
        <a:r>
          <a:rPr lang="en-GB"/>
          <a:t>Mandatory Add abbreviations to footnote
[Thomas Pongratz]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29513C-F667-4F7C-B0BA-CCEB3D2AFE5B}" type="datetimeFigureOut">
              <a:rPr lang="en-GB" smtClean="0"/>
              <a:t>14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054940-59CE-41C4-B8AD-D0CB524BEB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1912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FLD represent</a:t>
            </a:r>
            <a:r>
              <a:rPr lang="ro-RO" sz="1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en-US" sz="12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large and growing public health problem</a:t>
            </a:r>
            <a:endParaRPr lang="ro-RO" sz="1200" b="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AFLD is a leading cause </a:t>
            </a:r>
            <a:r>
              <a:rPr lang="en-US" sz="1200" b="1" baseline="0" dirty="0">
                <a:solidFill>
                  <a:prstClr val="white"/>
                </a:solidFill>
                <a:latin typeface="Century Gothic" panose="020B0502020202020204" pitchFamily="34" charset="0"/>
              </a:rPr>
              <a:t>of liver disease</a:t>
            </a:r>
            <a:r>
              <a:rPr lang="ro-RO" sz="1200" b="1" baseline="0" dirty="0">
                <a:solidFill>
                  <a:prstClr val="white"/>
                </a:solidFill>
                <a:latin typeface="Century Gothic" panose="020B0502020202020204" pitchFamily="34" charset="0"/>
              </a:rPr>
              <a:t> </a:t>
            </a:r>
            <a:r>
              <a:rPr lang="en-US" sz="1200" b="1" baseline="0" dirty="0">
                <a:solidFill>
                  <a:prstClr val="white"/>
                </a:solidFill>
                <a:latin typeface="Century Gothic" panose="020B0502020202020204" pitchFamily="34" charset="0"/>
              </a:rPr>
              <a:t>worldwide</a:t>
            </a: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https://www.journal-of-hepatology.eu/article/S0168-8278(18)32121-4/full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054940-59CE-41C4-B8AD-D0CB524BEB5F}" type="slidenum">
              <a:rPr lang="en-GB" smtClean="0"/>
              <a:pPr/>
              <a:t>4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184C7-7F30-9546-9754-A6C81A9DAC55}" type="slidenum">
              <a:rPr lang="ro-RO" smtClean="0"/>
              <a:pPr/>
              <a:t>8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031752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7419B4-04DB-ED43-AA30-A46705225530}" type="slidenum">
              <a:rPr lang="ro-RO" smtClean="0"/>
              <a:t>12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243894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bg>
      <p:bgPr>
        <a:solidFill>
          <a:srgbClr val="FFFF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aphique 7">
            <a:extLst>
              <a:ext uri="{FF2B5EF4-FFF2-40B4-BE49-F238E27FC236}">
                <a16:creationId xmlns:a16="http://schemas.microsoft.com/office/drawing/2014/main" id="{8169E6B5-FEB7-4155-9ACA-AD497A43E4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55654" y="2970597"/>
            <a:ext cx="3545622" cy="91281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9" name="Forme libre : forme 9">
              <a:extLst>
                <a:ext uri="{FF2B5EF4-FFF2-40B4-BE49-F238E27FC236}">
                  <a16:creationId xmlns:a16="http://schemas.microsoft.com/office/drawing/2014/main" id="{D84F150F-B452-4A99-AD9A-275ABC937676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ysClr val="windowText" lastClr="000000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" name="Forme libre : forme 10">
              <a:extLst>
                <a:ext uri="{FF2B5EF4-FFF2-40B4-BE49-F238E27FC236}">
                  <a16:creationId xmlns:a16="http://schemas.microsoft.com/office/drawing/2014/main" id="{0E97CC92-450F-4CF6-AC9E-0138700821F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rgbClr val="7A00E6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7A00E6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" name="Forme libre : forme 11">
              <a:extLst>
                <a:ext uri="{FF2B5EF4-FFF2-40B4-BE49-F238E27FC236}">
                  <a16:creationId xmlns:a16="http://schemas.microsoft.com/office/drawing/2014/main" id="{DB091897-0A24-4236-BB33-4B07C01F3F65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rgbClr val="7A00E6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74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62400" y="0"/>
            <a:ext cx="3729600" cy="68580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032" y="1049756"/>
            <a:ext cx="7647827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7647827" cy="1418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032" y="371028"/>
            <a:ext cx="7647827" cy="46179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746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4" y="1816799"/>
            <a:ext cx="5371001" cy="1418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034" y="447228"/>
            <a:ext cx="5476167" cy="46179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87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5740236E-B231-4B38-9B19-5CA4361809F8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750734" y="1711236"/>
            <a:ext cx="7988300" cy="4526716"/>
          </a:xfrm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rt and Tab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F7F0780-2D15-471D-9496-7A64395D2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74" y="390755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E6DF4D0-6655-42BC-BA6C-0FF9041659B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711235"/>
            <a:ext cx="2827447" cy="241624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509588" indent="-33972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914400" indent="-285750">
              <a:buFont typeface="Arial" panose="020B0604020202020204" pitchFamily="34" charset="0"/>
              <a:buChar char="•"/>
              <a:tabLst>
                <a:tab pos="1201738" algn="l"/>
              </a:tabLst>
              <a:defRPr>
                <a:solidFill>
                  <a:schemeClr val="tx1"/>
                </a:solidFill>
              </a:defRPr>
            </a:lvl3pPr>
            <a:lvl4pPr marL="1201738" indent="-2873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152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40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07701" y="1607902"/>
            <a:ext cx="2922291" cy="25654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52377" y="1607902"/>
            <a:ext cx="2922291" cy="25654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01351" y="1969454"/>
            <a:ext cx="2340559" cy="3622821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052378" y="1969454"/>
            <a:ext cx="2340559" cy="3622821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75900" y="1969454"/>
            <a:ext cx="2745600" cy="16953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024875" y="1969454"/>
            <a:ext cx="2744537" cy="16953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367" y="431661"/>
            <a:ext cx="11362660" cy="4801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826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9340" y="1410116"/>
            <a:ext cx="5088000" cy="64633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buNone/>
              <a:defRPr lang="fr-FR" sz="2000" b="1" smtClean="0">
                <a:solidFill>
                  <a:schemeClr val="accent3"/>
                </a:solidFill>
                <a:latin typeface="Verdana" panose="020B0604030504040204" pitchFamily="34" charset="0"/>
              </a:defRPr>
            </a:lvl1pPr>
          </a:lstStyle>
          <a:p>
            <a:pPr marL="0" lvl="0" algn="ctr" defTabSz="914400"/>
            <a:r>
              <a:rPr lang="fr-FR" dirty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29340" y="2224367"/>
            <a:ext cx="5088000" cy="11095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581252" y="1410116"/>
            <a:ext cx="5088000" cy="64633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buNone/>
              <a:defRPr lang="fr-FR" sz="2000" b="1" smtClean="0">
                <a:solidFill>
                  <a:schemeClr val="accent3"/>
                </a:solidFill>
                <a:latin typeface="Verdana" panose="020B0604030504040204" pitchFamily="34" charset="0"/>
              </a:defRPr>
            </a:lvl1pPr>
          </a:lstStyle>
          <a:p>
            <a:pPr marL="0" lvl="0" algn="ctr" defTabSz="914400"/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581252" y="2224367"/>
            <a:ext cx="5088000" cy="11095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0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84E72597-5FA9-473E-9DF2-B958DF9446F5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66AF65B-2D01-4190-8C03-F376203CA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661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FB2A150F-DD9A-4AA5-BD57-EEC120876B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59409" y="1504560"/>
            <a:ext cx="1736591" cy="4286250"/>
          </a:xfrm>
          <a:prstGeom prst="round2DiagRect">
            <a:avLst>
              <a:gd name="adj1" fmla="val 18924"/>
              <a:gd name="adj2" fmla="val 18053"/>
            </a:avLst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9173318-710C-4555-83E9-C335977141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9340" y="1650085"/>
            <a:ext cx="3348000" cy="40011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6" name="Espace réservé du texte 24">
            <a:extLst>
              <a:ext uri="{FF2B5EF4-FFF2-40B4-BE49-F238E27FC236}">
                <a16:creationId xmlns:a16="http://schemas.microsoft.com/office/drawing/2014/main" id="{13472F6C-97CE-438E-B0ED-D1F49895FB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21252" y="1650085"/>
            <a:ext cx="3348000" cy="40011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2CD1CED1-EC36-4A31-A191-A077675D2B3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9340" y="2322716"/>
            <a:ext cx="3348000" cy="3468094"/>
          </a:xfrm>
        </p:spPr>
        <p:txBody>
          <a:bodyPr>
            <a:normAutofit/>
          </a:bodyPr>
          <a:lstStyle>
            <a:lvl1pPr>
              <a:defRPr sz="1600"/>
            </a:lvl1pPr>
            <a:lvl2pPr marL="504000" indent="-216000">
              <a:defRPr sz="1600"/>
            </a:lvl2pPr>
            <a:lvl3pPr marL="756000" indent="-180000">
              <a:defRPr sz="1400"/>
            </a:lvl3pPr>
            <a:lvl4pPr marL="1116000" indent="-180000">
              <a:defRPr sz="1200"/>
            </a:lvl4pPr>
            <a:lvl5pPr marL="1440000" indent="-180000">
              <a:defRPr sz="11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9" name="Espace réservé du texte 27">
            <a:extLst>
              <a:ext uri="{FF2B5EF4-FFF2-40B4-BE49-F238E27FC236}">
                <a16:creationId xmlns:a16="http://schemas.microsoft.com/office/drawing/2014/main" id="{6CFE875D-5512-4699-AE09-5DA3CD3B2F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21252" y="2322716"/>
            <a:ext cx="3348000" cy="3468094"/>
          </a:xfrm>
        </p:spPr>
        <p:txBody>
          <a:bodyPr>
            <a:normAutofit/>
          </a:bodyPr>
          <a:lstStyle>
            <a:lvl1pPr>
              <a:defRPr sz="1600"/>
            </a:lvl1pPr>
            <a:lvl2pPr marL="504000" indent="-216000">
              <a:defRPr sz="1600"/>
            </a:lvl2pPr>
            <a:lvl3pPr marL="756000" indent="-180000">
              <a:defRPr sz="1400"/>
            </a:lvl3pPr>
            <a:lvl4pPr marL="1116000" indent="-180000">
              <a:defRPr sz="1200"/>
            </a:lvl4pPr>
            <a:lvl5pPr marL="1440000" indent="-180000">
              <a:defRPr sz="11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71B7107-13D6-4DA2-ACF7-6E6FD90B4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21C4BCB-C256-4F63-BDC9-377F92B1C1F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40330" y="1504560"/>
            <a:ext cx="1736591" cy="4286250"/>
          </a:xfrm>
          <a:prstGeom prst="round2DiagRect">
            <a:avLst>
              <a:gd name="adj1" fmla="val 18924"/>
              <a:gd name="adj2" fmla="val 18053"/>
            </a:avLst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89256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&amp;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5" name="Espace réservé pour une image  8">
            <a:extLst>
              <a:ext uri="{FF2B5EF4-FFF2-40B4-BE49-F238E27FC236}">
                <a16:creationId xmlns:a16="http://schemas.microsoft.com/office/drawing/2014/main" id="{C39C5CD1-48A3-4FD3-8112-25C19BD8D92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444975" y="1484956"/>
            <a:ext cx="4128000" cy="4098739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6" name="Espace réservé pour une image  8">
            <a:extLst>
              <a:ext uri="{FF2B5EF4-FFF2-40B4-BE49-F238E27FC236}">
                <a16:creationId xmlns:a16="http://schemas.microsoft.com/office/drawing/2014/main" id="{877CF915-392C-4C9E-9231-933278F733C0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5419650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Espace réservé pour une image  8">
            <a:extLst>
              <a:ext uri="{FF2B5EF4-FFF2-40B4-BE49-F238E27FC236}">
                <a16:creationId xmlns:a16="http://schemas.microsoft.com/office/drawing/2014/main" id="{4C7F2E51-ABA8-4F5A-9037-C8CCEEB2507A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058241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Espace réservé pour une image  8">
            <a:extLst>
              <a:ext uri="{FF2B5EF4-FFF2-40B4-BE49-F238E27FC236}">
                <a16:creationId xmlns:a16="http://schemas.microsoft.com/office/drawing/2014/main" id="{372F035A-F8CD-4ACE-99B9-4C5DF57FF218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8717707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Espace réservé pour une image  8">
            <a:extLst>
              <a:ext uri="{FF2B5EF4-FFF2-40B4-BE49-F238E27FC236}">
                <a16:creationId xmlns:a16="http://schemas.microsoft.com/office/drawing/2014/main" id="{BFF91B72-FE8D-4E96-8F5D-0506EA882BB5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10356298" y="2816877"/>
            <a:ext cx="918511" cy="9120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2974E98B-F9E8-419E-91E4-51E3364BAF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D1CABF73-739E-4F65-87EE-6E76601F265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17825" y="1577578"/>
            <a:ext cx="6331148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779AEC4-102A-4C92-BE0B-E482213D0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7824" y="855231"/>
            <a:ext cx="6337376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C8E1771-F222-47FB-AA03-2F95A1C562F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422250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976A5FD-C10D-4945-8AFE-54AC23C616B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966850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A6B494B-62E9-49D8-B69D-C934DB526A4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553107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ED3CC37-D66E-4DFC-9CFF-742D557E4F1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219304" y="3906754"/>
            <a:ext cx="1390651" cy="100155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800"/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2pPr>
            <a:lvl3pPr marL="171450" indent="-17145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None/>
              <a:defRPr lang="en-US" sz="800" b="0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7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BFDC34-33AF-4C11-86EB-987BBB6E3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670" y="241949"/>
            <a:ext cx="11362660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29" name="Espace réservé du texte 27">
            <a:extLst>
              <a:ext uri="{FF2B5EF4-FFF2-40B4-BE49-F238E27FC236}">
                <a16:creationId xmlns:a16="http://schemas.microsoft.com/office/drawing/2014/main" id="{6CFE875D-5512-4699-AE09-5DA3CD3B2F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00600" y="1577065"/>
            <a:ext cx="6868652" cy="4286250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pour une image  8">
            <a:extLst>
              <a:ext uri="{FF2B5EF4-FFF2-40B4-BE49-F238E27FC236}">
                <a16:creationId xmlns:a16="http://schemas.microsoft.com/office/drawing/2014/main" id="{02A06BFE-026F-4509-A438-F70430BBD95C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663884" y="1759335"/>
            <a:ext cx="3949702" cy="392171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369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BFDC34-33AF-4C11-86EB-987BBB6E3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490" y="683073"/>
            <a:ext cx="11362660" cy="48013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29" name="Espace réservé du texte 27">
            <a:extLst>
              <a:ext uri="{FF2B5EF4-FFF2-40B4-BE49-F238E27FC236}">
                <a16:creationId xmlns:a16="http://schemas.microsoft.com/office/drawing/2014/main" id="{6CFE875D-5512-4699-AE09-5DA3CD3B2F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8000" y="1577065"/>
            <a:ext cx="6868652" cy="4286250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pour une image  8">
            <a:extLst>
              <a:ext uri="{FF2B5EF4-FFF2-40B4-BE49-F238E27FC236}">
                <a16:creationId xmlns:a16="http://schemas.microsoft.com/office/drawing/2014/main" id="{B9B1F59D-0B31-4228-A6D1-7ECD6C7BBB7B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7918448" y="1759335"/>
            <a:ext cx="3949702" cy="392171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1296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12" name="Espace réservé du texte 24">
            <a:extLst>
              <a:ext uri="{FF2B5EF4-FFF2-40B4-BE49-F238E27FC236}">
                <a16:creationId xmlns:a16="http://schemas.microsoft.com/office/drawing/2014/main" id="{6360CB7B-3A71-47FB-984A-D9D32B7B61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4644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1" name="Espace réservé du texte 24">
            <a:extLst>
              <a:ext uri="{FF2B5EF4-FFF2-40B4-BE49-F238E27FC236}">
                <a16:creationId xmlns:a16="http://schemas.microsoft.com/office/drawing/2014/main" id="{AD5BB856-D73A-4166-A4D6-BF2374AE75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9948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62CC584B-4CFD-463F-9197-F7B66B7055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92160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1E6C7E62-BC80-4978-BB9A-631D0ACBB47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14644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8" name="Espace réservé du texte 26">
            <a:extLst>
              <a:ext uri="{FF2B5EF4-FFF2-40B4-BE49-F238E27FC236}">
                <a16:creationId xmlns:a16="http://schemas.microsoft.com/office/drawing/2014/main" id="{6AF48078-EA28-4EC4-B59B-3B4992CD3C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99948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Espace réservé du texte 26">
            <a:extLst>
              <a:ext uri="{FF2B5EF4-FFF2-40B4-BE49-F238E27FC236}">
                <a16:creationId xmlns:a16="http://schemas.microsoft.com/office/drawing/2014/main" id="{949FBC1C-F84C-420E-B284-DD374BCFE6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92160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4" name="Espace réservé du texte 24">
            <a:extLst>
              <a:ext uri="{FF2B5EF4-FFF2-40B4-BE49-F238E27FC236}">
                <a16:creationId xmlns:a16="http://schemas.microsoft.com/office/drawing/2014/main" id="{B454D097-D038-4499-A781-1FF5D6790B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9340" y="3898815"/>
            <a:ext cx="2484000" cy="40011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b="1" cap="all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5" name="Espace réservé du texte 26">
            <a:extLst>
              <a:ext uri="{FF2B5EF4-FFF2-40B4-BE49-F238E27FC236}">
                <a16:creationId xmlns:a16="http://schemas.microsoft.com/office/drawing/2014/main" id="{BCD11B26-3F55-427E-B28B-9364E1CE947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9340" y="4567646"/>
            <a:ext cx="2484000" cy="480131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56957A33-68BB-4834-A4ED-3815848BBCDD}"/>
              </a:ext>
            </a:extLst>
          </p:cNvPr>
          <p:cNvCxnSpPr/>
          <p:nvPr userDrawn="1"/>
        </p:nvCxnSpPr>
        <p:spPr>
          <a:xfrm>
            <a:off x="1560063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565F31C1-A8A7-4E2A-87FA-0859040A505C}"/>
              </a:ext>
            </a:extLst>
          </p:cNvPr>
          <p:cNvCxnSpPr/>
          <p:nvPr userDrawn="1"/>
        </p:nvCxnSpPr>
        <p:spPr>
          <a:xfrm>
            <a:off x="4345367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C473FAA6-6CCF-4B04-9A97-B1680E125BFB}"/>
              </a:ext>
            </a:extLst>
          </p:cNvPr>
          <p:cNvCxnSpPr/>
          <p:nvPr userDrawn="1"/>
        </p:nvCxnSpPr>
        <p:spPr>
          <a:xfrm>
            <a:off x="7130671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F91E245-1E58-4D76-A9F1-3180C77BA96D}"/>
              </a:ext>
            </a:extLst>
          </p:cNvPr>
          <p:cNvCxnSpPr/>
          <p:nvPr userDrawn="1"/>
        </p:nvCxnSpPr>
        <p:spPr>
          <a:xfrm>
            <a:off x="9922883" y="4431018"/>
            <a:ext cx="102255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re 2">
            <a:extLst>
              <a:ext uri="{FF2B5EF4-FFF2-40B4-BE49-F238E27FC236}">
                <a16:creationId xmlns:a16="http://schemas.microsoft.com/office/drawing/2014/main" id="{BF99DB2A-7819-4FF0-9BA7-554E6DC32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20" name="Espace réservé pour une image  8">
            <a:extLst>
              <a:ext uri="{FF2B5EF4-FFF2-40B4-BE49-F238E27FC236}">
                <a16:creationId xmlns:a16="http://schemas.microsoft.com/office/drawing/2014/main" id="{AB6E5860-939D-455A-BAEE-2EFF3BDECAE3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1062869" y="1731414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Espace réservé pour une image  8">
            <a:extLst>
              <a:ext uri="{FF2B5EF4-FFF2-40B4-BE49-F238E27FC236}">
                <a16:creationId xmlns:a16="http://schemas.microsoft.com/office/drawing/2014/main" id="{0C75C8A6-088C-4896-BCB3-D0FC8299B78B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3949591" y="1731414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Espace réservé pour une image  8">
            <a:extLst>
              <a:ext uri="{FF2B5EF4-FFF2-40B4-BE49-F238E27FC236}">
                <a16:creationId xmlns:a16="http://schemas.microsoft.com/office/drawing/2014/main" id="{C8AB4588-AE0E-4A0A-A0A9-2C0E3D8C32E8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6734895" y="1722705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pour une image  8">
            <a:extLst>
              <a:ext uri="{FF2B5EF4-FFF2-40B4-BE49-F238E27FC236}">
                <a16:creationId xmlns:a16="http://schemas.microsoft.com/office/drawing/2014/main" id="{5FFE9484-6F72-467A-A34E-6C99863A22B7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9520199" y="1731414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894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293441-EBBA-4CBD-95C9-F49BC70B6171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4DF6AB4-C8DE-4C3F-B999-02720DB8197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099CEEA5-8A5D-43EC-AF9E-7938DFE43651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CFADFB5E-6042-457B-B672-623BEF97419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43BE12B-7543-4625-B8F4-3E8CE1E0A4D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28" name="Hexagon 27">
                <a:extLst>
                  <a:ext uri="{FF2B5EF4-FFF2-40B4-BE49-F238E27FC236}">
                    <a16:creationId xmlns:a16="http://schemas.microsoft.com/office/drawing/2014/main" id="{9C9B5B6F-5C7A-4336-AB10-6B0AB1D40098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Hexagon 28">
                <a:extLst>
                  <a:ext uri="{FF2B5EF4-FFF2-40B4-BE49-F238E27FC236}">
                    <a16:creationId xmlns:a16="http://schemas.microsoft.com/office/drawing/2014/main" id="{A3892351-9B42-47FD-ADF1-962B76AC14B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71B65988-6FF6-4996-8690-22D1EEE91B58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FF75EC0-7E42-4D1C-A7EA-66F6BD6BFCA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D3BCC154-AFBD-40AB-B936-5E7902462FA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Hexagon 26">
                <a:extLst>
                  <a:ext uri="{FF2B5EF4-FFF2-40B4-BE49-F238E27FC236}">
                    <a16:creationId xmlns:a16="http://schemas.microsoft.com/office/drawing/2014/main" id="{2995806C-0642-48F1-BDBD-E6152BE263C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219C843-800F-44F8-8D23-A964E27938F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3" name="Hexagon 22">
                <a:extLst>
                  <a:ext uri="{FF2B5EF4-FFF2-40B4-BE49-F238E27FC236}">
                    <a16:creationId xmlns:a16="http://schemas.microsoft.com/office/drawing/2014/main" id="{C3EC4150-BF8B-4C03-8AE2-4981A555713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C1BD3620-6D2A-40F2-92DE-8E51F28D789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70CDFA0B-36EC-47D6-91E2-97477FE6831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47AD3083-7725-4D86-9F0C-77641F9E6F1D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09AF2A28-52B6-4BBC-BD88-811373A945A2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95552884-20DE-4CF2-9E19-385EA14F5681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A393C2-6932-4535-BBBC-08954401DC3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20" name="Hexagon 19">
                <a:extLst>
                  <a:ext uri="{FF2B5EF4-FFF2-40B4-BE49-F238E27FC236}">
                    <a16:creationId xmlns:a16="http://schemas.microsoft.com/office/drawing/2014/main" id="{D87AACAF-0AC0-4EC9-B81A-58760618A4EB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50C9DCEC-2B6F-40C0-B647-BDD2989FBE8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681A7A00-9063-4F0A-8E01-60FD0E6B742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66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6431A79-287E-46BC-9643-550632F58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EF77CA45-860D-4A8C-A213-22609779EBD2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0506CD9-9B3D-401E-A2A3-99F9BBD50BA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9340" y="1536335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Espace réservé du texte 24">
            <a:extLst>
              <a:ext uri="{FF2B5EF4-FFF2-40B4-BE49-F238E27FC236}">
                <a16:creationId xmlns:a16="http://schemas.microsoft.com/office/drawing/2014/main" id="{5FDE4121-8D92-48F0-9089-1E3BBEB570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9340" y="49456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1" name="Espace réservé du texte 24">
            <a:extLst>
              <a:ext uri="{FF2B5EF4-FFF2-40B4-BE49-F238E27FC236}">
                <a16:creationId xmlns:a16="http://schemas.microsoft.com/office/drawing/2014/main" id="{F4956070-B472-4F5A-83DA-05632E23A8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0644" y="22278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2" name="Espace réservé du texte 24">
            <a:extLst>
              <a:ext uri="{FF2B5EF4-FFF2-40B4-BE49-F238E27FC236}">
                <a16:creationId xmlns:a16="http://schemas.microsoft.com/office/drawing/2014/main" id="{ED75993B-5E9B-47F5-9E92-97A8BE0812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1948" y="49456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13" name="Espace réservé du texte 24">
            <a:extLst>
              <a:ext uri="{FF2B5EF4-FFF2-40B4-BE49-F238E27FC236}">
                <a16:creationId xmlns:a16="http://schemas.microsoft.com/office/drawing/2014/main" id="{9F1D484A-B156-4B11-9313-CB2DD5D95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3252" y="2227886"/>
            <a:ext cx="2556000" cy="33855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b="1" cap="none" baseline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/>
              <a:t>Click to edit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BD675F3-A2CF-4B0C-8305-20CB697F4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D5EC2CB-594D-4EF4-83AD-FE85CC2055A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90644" y="2685434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FA979F7C-ABEB-4144-A912-26EFE83E934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351948" y="1477238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C28B03E3-DA47-4F3A-AF48-5C0E7A8151D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13252" y="2685434"/>
            <a:ext cx="2556000" cy="3240000"/>
          </a:xfrm>
          <a:prstGeom prst="round2DiagRect">
            <a:avLst>
              <a:gd name="adj1" fmla="val 16667"/>
              <a:gd name="adj2" fmla="val 17887"/>
            </a:avLst>
          </a:prstGeom>
          <a:pattFill prst="pct5">
            <a:fgClr>
              <a:srgbClr val="C8143B"/>
            </a:fgClr>
            <a:bgClr>
              <a:schemeClr val="bg1">
                <a:lumMod val="95000"/>
              </a:schemeClr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21710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p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" name="Espace réservé du graphique SmartArt 27">
            <a:extLst>
              <a:ext uri="{FF2B5EF4-FFF2-40B4-BE49-F238E27FC236}">
                <a16:creationId xmlns:a16="http://schemas.microsoft.com/office/drawing/2014/main" id="{8D53DFC9-0862-4983-A2CD-513024C2A0A3}"/>
              </a:ext>
            </a:extLst>
          </p:cNvPr>
          <p:cNvSpPr>
            <a:spLocks noGrp="1" noChangeAspect="1"/>
          </p:cNvSpPr>
          <p:nvPr>
            <p:ph type="dgm" sz="quarter" idx="21"/>
          </p:nvPr>
        </p:nvSpPr>
        <p:spPr>
          <a:xfrm>
            <a:off x="988477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0" name="Espace réservé du graphique SmartArt 29">
            <a:extLst>
              <a:ext uri="{FF2B5EF4-FFF2-40B4-BE49-F238E27FC236}">
                <a16:creationId xmlns:a16="http://schemas.microsoft.com/office/drawing/2014/main" id="{426C2D69-E6C0-447B-8709-F429E5524A8D}"/>
              </a:ext>
            </a:extLst>
          </p:cNvPr>
          <p:cNvSpPr>
            <a:spLocks noGrp="1" noChangeAspect="1"/>
          </p:cNvSpPr>
          <p:nvPr>
            <p:ph type="dgm" sz="quarter" idx="23"/>
          </p:nvPr>
        </p:nvSpPr>
        <p:spPr>
          <a:xfrm>
            <a:off x="2643481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1" name="Espace réservé du graphique SmartArt 30">
            <a:extLst>
              <a:ext uri="{FF2B5EF4-FFF2-40B4-BE49-F238E27FC236}">
                <a16:creationId xmlns:a16="http://schemas.microsoft.com/office/drawing/2014/main" id="{983A806B-A7D8-4764-8E4F-9196393870B0}"/>
              </a:ext>
            </a:extLst>
          </p:cNvPr>
          <p:cNvSpPr>
            <a:spLocks noGrp="1" noChangeAspect="1"/>
          </p:cNvSpPr>
          <p:nvPr>
            <p:ph type="dgm" sz="quarter" idx="24"/>
          </p:nvPr>
        </p:nvSpPr>
        <p:spPr>
          <a:xfrm>
            <a:off x="9255749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2" name="Espace réservé du graphique SmartArt 31">
            <a:extLst>
              <a:ext uri="{FF2B5EF4-FFF2-40B4-BE49-F238E27FC236}">
                <a16:creationId xmlns:a16="http://schemas.microsoft.com/office/drawing/2014/main" id="{B6D46D2C-9EB8-4FFE-A096-794420255959}"/>
              </a:ext>
            </a:extLst>
          </p:cNvPr>
          <p:cNvSpPr>
            <a:spLocks noGrp="1" noChangeAspect="1"/>
          </p:cNvSpPr>
          <p:nvPr>
            <p:ph type="dgm" sz="quarter" idx="25"/>
          </p:nvPr>
        </p:nvSpPr>
        <p:spPr>
          <a:xfrm>
            <a:off x="10910753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DCF4AB73-53BB-4916-832A-A1FF52F2EB8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594" y="3934793"/>
            <a:ext cx="1548535" cy="46868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D32D786C-DE6F-435E-89A2-F0DBD45736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82978" y="3934793"/>
            <a:ext cx="1407759" cy="46868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9C501E4B-3A14-4B9B-B61B-DC6381B9AA7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40330" y="3936413"/>
            <a:ext cx="1407759" cy="471247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9C742B60-DBF9-4074-B1A9-8F6E74E9D9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92119" y="3925153"/>
            <a:ext cx="1407759" cy="47832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5FD15E1D-688D-409E-9AD0-74ABF227C22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43909" y="3913892"/>
            <a:ext cx="1407759" cy="489589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D55ECC2-F335-44B9-9DDE-2AE845F32B1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95698" y="3902633"/>
            <a:ext cx="1407759" cy="500847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D9015B19-D4D5-4F3C-934C-E2A9B54E71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53258" y="3902631"/>
            <a:ext cx="1407759" cy="51440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Title goes here in Verdana 9pt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7CB0C600-717D-4628-8BB6-411A6709E1A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0594" y="5183547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CA06A69C-FC71-47B5-A2D0-336941212B1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12590" y="5183549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09AF6B2D-FE1E-4067-9129-C4B5676FF75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21731" y="5183549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CF14C971-4FFC-440B-9E09-17D67217DA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25310" y="5183548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83FECD87-649A-4C86-9EE3-E68666E507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82870" y="5183548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45" name="Espace réservé pour une image  8">
            <a:extLst>
              <a:ext uri="{FF2B5EF4-FFF2-40B4-BE49-F238E27FC236}">
                <a16:creationId xmlns:a16="http://schemas.microsoft.com/office/drawing/2014/main" id="{CC5C9632-E14B-4BCC-B960-B235737C8F5E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523592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6" name="Espace réservé pour une image  8">
            <a:extLst>
              <a:ext uri="{FF2B5EF4-FFF2-40B4-BE49-F238E27FC236}">
                <a16:creationId xmlns:a16="http://schemas.microsoft.com/office/drawing/2014/main" id="{84EE3C86-4DFD-490F-A50B-B0BEE6298C43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2175588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7" name="Espace réservé pour une image  8">
            <a:extLst>
              <a:ext uri="{FF2B5EF4-FFF2-40B4-BE49-F238E27FC236}">
                <a16:creationId xmlns:a16="http://schemas.microsoft.com/office/drawing/2014/main" id="{77D5A709-E29B-43D2-A12D-DECB5EE31488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3827584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8" name="Espace réservé pour une image  8">
            <a:extLst>
              <a:ext uri="{FF2B5EF4-FFF2-40B4-BE49-F238E27FC236}">
                <a16:creationId xmlns:a16="http://schemas.microsoft.com/office/drawing/2014/main" id="{A2BF4A97-13DA-4E9F-8ACB-59EB15D77A1E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5479580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9" name="Espace réservé pour une image  8">
            <a:extLst>
              <a:ext uri="{FF2B5EF4-FFF2-40B4-BE49-F238E27FC236}">
                <a16:creationId xmlns:a16="http://schemas.microsoft.com/office/drawing/2014/main" id="{B3001942-C22D-4695-956D-BB43AA2F9E26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7131576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0" name="Espace réservé pour une image  8">
            <a:extLst>
              <a:ext uri="{FF2B5EF4-FFF2-40B4-BE49-F238E27FC236}">
                <a16:creationId xmlns:a16="http://schemas.microsoft.com/office/drawing/2014/main" id="{779AA997-FB2D-45EA-9288-E6142EF3D61B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8783572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1" name="Espace réservé pour une image  8">
            <a:extLst>
              <a:ext uri="{FF2B5EF4-FFF2-40B4-BE49-F238E27FC236}">
                <a16:creationId xmlns:a16="http://schemas.microsoft.com/office/drawing/2014/main" id="{0604BCBF-1C62-4840-B2BA-6AAA4AEAFBD9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>
          <a:xfrm>
            <a:off x="10435568" y="2275343"/>
            <a:ext cx="1222537" cy="1213872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2" name="Espace réservé du graphique SmartArt 29">
            <a:extLst>
              <a:ext uri="{FF2B5EF4-FFF2-40B4-BE49-F238E27FC236}">
                <a16:creationId xmlns:a16="http://schemas.microsoft.com/office/drawing/2014/main" id="{FA8235AD-5B9A-4575-82DB-8CE0D777263C}"/>
              </a:ext>
            </a:extLst>
          </p:cNvPr>
          <p:cNvSpPr>
            <a:spLocks noGrp="1" noChangeAspect="1"/>
          </p:cNvSpPr>
          <p:nvPr>
            <p:ph type="dgm" sz="quarter" idx="45"/>
          </p:nvPr>
        </p:nvSpPr>
        <p:spPr>
          <a:xfrm>
            <a:off x="4294610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53" name="Espace réservé du graphique SmartArt 29">
            <a:extLst>
              <a:ext uri="{FF2B5EF4-FFF2-40B4-BE49-F238E27FC236}">
                <a16:creationId xmlns:a16="http://schemas.microsoft.com/office/drawing/2014/main" id="{7DBF2C70-2304-418B-A045-58A1900F2C79}"/>
              </a:ext>
            </a:extLst>
          </p:cNvPr>
          <p:cNvSpPr>
            <a:spLocks noGrp="1" noChangeAspect="1"/>
          </p:cNvSpPr>
          <p:nvPr>
            <p:ph type="dgm" sz="quarter" idx="46" hasCustomPrompt="1"/>
          </p:nvPr>
        </p:nvSpPr>
        <p:spPr>
          <a:xfrm>
            <a:off x="5945739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54" name="Espace réservé du graphique SmartArt 29">
            <a:extLst>
              <a:ext uri="{FF2B5EF4-FFF2-40B4-BE49-F238E27FC236}">
                <a16:creationId xmlns:a16="http://schemas.microsoft.com/office/drawing/2014/main" id="{6F45D7C0-81AA-4419-9BD5-BC22EF4DA055}"/>
              </a:ext>
            </a:extLst>
          </p:cNvPr>
          <p:cNvSpPr>
            <a:spLocks noGrp="1" noChangeAspect="1"/>
          </p:cNvSpPr>
          <p:nvPr>
            <p:ph type="dgm" sz="quarter" idx="47"/>
          </p:nvPr>
        </p:nvSpPr>
        <p:spPr>
          <a:xfrm>
            <a:off x="7596869" y="4541605"/>
            <a:ext cx="292772" cy="290697"/>
          </a:xfrm>
          <a:custGeom>
            <a:avLst/>
            <a:gdLst>
              <a:gd name="connsiteX0" fmla="*/ 2922939 w 3483218"/>
              <a:gd name="connsiteY0" fmla="*/ 1259365 h 3458526"/>
              <a:gd name="connsiteX1" fmla="*/ 1600525 w 3483218"/>
              <a:gd name="connsiteY1" fmla="*/ 2492535 h 3458526"/>
              <a:gd name="connsiteX2" fmla="*/ 868506 w 3483218"/>
              <a:gd name="connsiteY2" fmla="*/ 1555592 h 3458526"/>
              <a:gd name="connsiteX3" fmla="*/ 797650 w 3483218"/>
              <a:gd name="connsiteY3" fmla="*/ 1610951 h 3458526"/>
              <a:gd name="connsiteX4" fmla="*/ 1586692 w 3483218"/>
              <a:gd name="connsiteY4" fmla="*/ 2620878 h 3458526"/>
              <a:gd name="connsiteX5" fmla="*/ 1626892 w 3483218"/>
              <a:gd name="connsiteY5" fmla="*/ 2589471 h 3458526"/>
              <a:gd name="connsiteX6" fmla="*/ 1627601 w 3483218"/>
              <a:gd name="connsiteY6" fmla="*/ 2590232 h 3458526"/>
              <a:gd name="connsiteX7" fmla="*/ 1636303 w 3483218"/>
              <a:gd name="connsiteY7" fmla="*/ 2582117 h 3458526"/>
              <a:gd name="connsiteX8" fmla="*/ 1657548 w 3483218"/>
              <a:gd name="connsiteY8" fmla="*/ 2565520 h 3458526"/>
              <a:gd name="connsiteX9" fmla="*/ 1656095 w 3483218"/>
              <a:gd name="connsiteY9" fmla="*/ 2563661 h 3458526"/>
              <a:gd name="connsiteX10" fmla="*/ 2984262 w 3483218"/>
              <a:gd name="connsiteY10" fmla="*/ 1325125 h 3458526"/>
              <a:gd name="connsiteX11" fmla="*/ 1704581 w 3483218"/>
              <a:gd name="connsiteY11" fmla="*/ 1 h 3458526"/>
              <a:gd name="connsiteX12" fmla="*/ 3483218 w 3483218"/>
              <a:gd name="connsiteY12" fmla="*/ 1729247 h 3458526"/>
              <a:gd name="connsiteX13" fmla="*/ 1778716 w 3483218"/>
              <a:gd name="connsiteY13" fmla="*/ 3458526 h 3458526"/>
              <a:gd name="connsiteX14" fmla="*/ 1 w 3483218"/>
              <a:gd name="connsiteY14" fmla="*/ 1729282 h 3458526"/>
              <a:gd name="connsiteX15" fmla="*/ 1704581 w 3483218"/>
              <a:gd name="connsiteY15" fmla="*/ 1 h 34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83218" h="3458526">
                <a:moveTo>
                  <a:pt x="2922939" y="1259365"/>
                </a:moveTo>
                <a:lnTo>
                  <a:pt x="1600525" y="2492535"/>
                </a:lnTo>
                <a:lnTo>
                  <a:pt x="868506" y="1555592"/>
                </a:lnTo>
                <a:lnTo>
                  <a:pt x="797650" y="1610951"/>
                </a:lnTo>
                <a:lnTo>
                  <a:pt x="1586692" y="2620878"/>
                </a:lnTo>
                <a:lnTo>
                  <a:pt x="1626892" y="2589471"/>
                </a:lnTo>
                <a:lnTo>
                  <a:pt x="1627601" y="2590232"/>
                </a:lnTo>
                <a:lnTo>
                  <a:pt x="1636303" y="2582117"/>
                </a:lnTo>
                <a:lnTo>
                  <a:pt x="1657548" y="2565520"/>
                </a:lnTo>
                <a:lnTo>
                  <a:pt x="1656095" y="2563661"/>
                </a:lnTo>
                <a:lnTo>
                  <a:pt x="2984262" y="1325125"/>
                </a:lnTo>
                <a:close/>
                <a:moveTo>
                  <a:pt x="1704581" y="1"/>
                </a:moveTo>
                <a:cubicBezTo>
                  <a:pt x="2791550" y="-37"/>
                  <a:pt x="3483179" y="642275"/>
                  <a:pt x="3483218" y="1729247"/>
                </a:cubicBezTo>
                <a:cubicBezTo>
                  <a:pt x="3483201" y="2791528"/>
                  <a:pt x="2791534" y="3458489"/>
                  <a:pt x="1778716" y="3458526"/>
                </a:cubicBezTo>
                <a:cubicBezTo>
                  <a:pt x="666974" y="3458540"/>
                  <a:pt x="-14" y="2791564"/>
                  <a:pt x="1" y="1729282"/>
                </a:cubicBezTo>
                <a:cubicBezTo>
                  <a:pt x="42" y="642310"/>
                  <a:pt x="666991" y="13"/>
                  <a:pt x="1704581" y="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56" name="Espace réservé du texte 4">
            <a:extLst>
              <a:ext uri="{FF2B5EF4-FFF2-40B4-BE49-F238E27FC236}">
                <a16:creationId xmlns:a16="http://schemas.microsoft.com/office/drawing/2014/main" id="{FC6B0F1C-7055-324B-98C6-0177CD4AD1B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664584" y="5183548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CC765C58-0238-9A4D-B57F-E8B0921FD68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58438" y="5183547"/>
            <a:ext cx="1548533" cy="720000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spcAft>
                <a:spcPts val="0"/>
              </a:spcAft>
              <a:buNone/>
              <a:defRPr sz="933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7pt</a:t>
            </a: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DB609FE6-0339-4B6E-86E1-9513AF7B3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74" y="338144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72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bg>
      <p:bgPr>
        <a:solidFill>
          <a:srgbClr val="FFFFDE">
            <a:alpha val="7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E70A040-45DC-4C4F-9C35-9C8855F2FADC}"/>
              </a:ext>
            </a:extLst>
          </p:cNvPr>
          <p:cNvCxnSpPr>
            <a:cxnSpLocks/>
          </p:cNvCxnSpPr>
          <p:nvPr userDrawn="1"/>
        </p:nvCxnSpPr>
        <p:spPr>
          <a:xfrm>
            <a:off x="456000" y="3919321"/>
            <a:ext cx="11280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3" name="Espace réservé du graphique SmartArt 11">
            <a:extLst>
              <a:ext uri="{FF2B5EF4-FFF2-40B4-BE49-F238E27FC236}">
                <a16:creationId xmlns:a16="http://schemas.microsoft.com/office/drawing/2014/main" id="{27C8F47C-3200-4352-B957-F47C1A5FCAF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079875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58" name="Espace réservé du texte 57">
            <a:extLst>
              <a:ext uri="{FF2B5EF4-FFF2-40B4-BE49-F238E27FC236}">
                <a16:creationId xmlns:a16="http://schemas.microsoft.com/office/drawing/2014/main" id="{A0A44F60-C67D-46ED-9CCB-CDD8B11F95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1905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62" name="Espace réservé du graphique SmartArt 11">
            <a:extLst>
              <a:ext uri="{FF2B5EF4-FFF2-40B4-BE49-F238E27FC236}">
                <a16:creationId xmlns:a16="http://schemas.microsoft.com/office/drawing/2014/main" id="{CE16E605-DFA7-4CED-8CBF-0542C7698DF9}"/>
              </a:ext>
            </a:extLst>
          </p:cNvPr>
          <p:cNvSpPr>
            <a:spLocks noGrp="1" noChangeAspect="1"/>
          </p:cNvSpPr>
          <p:nvPr>
            <p:ph type="dgm" sz="quarter" idx="40"/>
          </p:nvPr>
        </p:nvSpPr>
        <p:spPr>
          <a:xfrm>
            <a:off x="2733698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3" name="Espace réservé du graphique SmartArt 11">
            <a:extLst>
              <a:ext uri="{FF2B5EF4-FFF2-40B4-BE49-F238E27FC236}">
                <a16:creationId xmlns:a16="http://schemas.microsoft.com/office/drawing/2014/main" id="{5A796DFE-A231-4181-AD26-E6261F7463D2}"/>
              </a:ext>
            </a:extLst>
          </p:cNvPr>
          <p:cNvSpPr>
            <a:spLocks noGrp="1" noChangeAspect="1"/>
          </p:cNvSpPr>
          <p:nvPr>
            <p:ph type="dgm" sz="quarter" idx="41"/>
          </p:nvPr>
        </p:nvSpPr>
        <p:spPr>
          <a:xfrm>
            <a:off x="4387521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4" name="Espace réservé du graphique SmartArt 11">
            <a:extLst>
              <a:ext uri="{FF2B5EF4-FFF2-40B4-BE49-F238E27FC236}">
                <a16:creationId xmlns:a16="http://schemas.microsoft.com/office/drawing/2014/main" id="{4AF62F43-58B0-40EE-BBAF-40FAE44E0A13}"/>
              </a:ext>
            </a:extLst>
          </p:cNvPr>
          <p:cNvSpPr>
            <a:spLocks noGrp="1" noChangeAspect="1"/>
          </p:cNvSpPr>
          <p:nvPr>
            <p:ph type="dgm" sz="quarter" idx="42"/>
          </p:nvPr>
        </p:nvSpPr>
        <p:spPr>
          <a:xfrm>
            <a:off x="6041343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5" name="Espace réservé du graphique SmartArt 11">
            <a:extLst>
              <a:ext uri="{FF2B5EF4-FFF2-40B4-BE49-F238E27FC236}">
                <a16:creationId xmlns:a16="http://schemas.microsoft.com/office/drawing/2014/main" id="{EA159B1B-69A6-4A2A-8825-3CE557B1A745}"/>
              </a:ext>
            </a:extLst>
          </p:cNvPr>
          <p:cNvSpPr>
            <a:spLocks noGrp="1" noChangeAspect="1"/>
          </p:cNvSpPr>
          <p:nvPr>
            <p:ph type="dgm" sz="quarter" idx="43"/>
          </p:nvPr>
        </p:nvSpPr>
        <p:spPr>
          <a:xfrm>
            <a:off x="7695166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6" name="Espace réservé du graphique SmartArt 11">
            <a:extLst>
              <a:ext uri="{FF2B5EF4-FFF2-40B4-BE49-F238E27FC236}">
                <a16:creationId xmlns:a16="http://schemas.microsoft.com/office/drawing/2014/main" id="{46A4C6F1-FE20-48BF-A8EC-70436EAC5DE4}"/>
              </a:ext>
            </a:extLst>
          </p:cNvPr>
          <p:cNvSpPr>
            <a:spLocks noGrp="1" noChangeAspect="1"/>
          </p:cNvSpPr>
          <p:nvPr>
            <p:ph type="dgm" sz="quarter" idx="44"/>
          </p:nvPr>
        </p:nvSpPr>
        <p:spPr>
          <a:xfrm>
            <a:off x="9348989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67" name="Espace réservé du graphique SmartArt 11">
            <a:extLst>
              <a:ext uri="{FF2B5EF4-FFF2-40B4-BE49-F238E27FC236}">
                <a16:creationId xmlns:a16="http://schemas.microsoft.com/office/drawing/2014/main" id="{2AD47857-C65A-440C-9B23-312C1566BFFB}"/>
              </a:ext>
            </a:extLst>
          </p:cNvPr>
          <p:cNvSpPr>
            <a:spLocks noGrp="1" noChangeAspect="1"/>
          </p:cNvSpPr>
          <p:nvPr>
            <p:ph type="dgm" sz="quarter" idx="45"/>
          </p:nvPr>
        </p:nvSpPr>
        <p:spPr>
          <a:xfrm>
            <a:off x="11002811" y="3871321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35" name="Espace réservé du texte 57">
            <a:extLst>
              <a:ext uri="{FF2B5EF4-FFF2-40B4-BE49-F238E27FC236}">
                <a16:creationId xmlns:a16="http://schemas.microsoft.com/office/drawing/2014/main" id="{428D303E-DDAF-3641-B132-0379E658A1E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743433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467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37" name="Espace réservé du texte 57">
            <a:extLst>
              <a:ext uri="{FF2B5EF4-FFF2-40B4-BE49-F238E27FC236}">
                <a16:creationId xmlns:a16="http://schemas.microsoft.com/office/drawing/2014/main" id="{842F84FC-333E-1F4F-8881-03E7346E685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366490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39" name="Espace réservé du texte 57">
            <a:extLst>
              <a:ext uri="{FF2B5EF4-FFF2-40B4-BE49-F238E27FC236}">
                <a16:creationId xmlns:a16="http://schemas.microsoft.com/office/drawing/2014/main" id="{44621C0C-848F-154C-A0BE-F77AB0303ED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054961" y="2250270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41" name="Espace réservé du texte 57">
            <a:extLst>
              <a:ext uri="{FF2B5EF4-FFF2-40B4-BE49-F238E27FC236}">
                <a16:creationId xmlns:a16="http://schemas.microsoft.com/office/drawing/2014/main" id="{5C884832-94C5-EC48-AD59-0BFF5B9292F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085727" y="4252321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43" name="Espace réservé du texte 57">
            <a:extLst>
              <a:ext uri="{FF2B5EF4-FFF2-40B4-BE49-F238E27FC236}">
                <a16:creationId xmlns:a16="http://schemas.microsoft.com/office/drawing/2014/main" id="{55EE616D-CD9C-F747-B3C1-7E058D1739B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392643" y="4252321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45" name="Espace réservé du texte 57">
            <a:extLst>
              <a:ext uri="{FF2B5EF4-FFF2-40B4-BE49-F238E27FC236}">
                <a16:creationId xmlns:a16="http://schemas.microsoft.com/office/drawing/2014/main" id="{EE1276C9-7673-0445-9714-7351552FC1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699559" y="4252321"/>
            <a:ext cx="1392631" cy="1383383"/>
          </a:xfrm>
          <a:custGeom>
            <a:avLst/>
            <a:gdLst>
              <a:gd name="connsiteX0" fmla="*/ 522269 w 1044473"/>
              <a:gd name="connsiteY0" fmla="*/ 171 h 1037537"/>
              <a:gd name="connsiteX1" fmla="*/ 1044299 w 1044473"/>
              <a:gd name="connsiteY1" fmla="*/ 530013 h 1037537"/>
              <a:gd name="connsiteX2" fmla="*/ 522269 w 1044473"/>
              <a:gd name="connsiteY2" fmla="*/ 1037382 h 1037537"/>
              <a:gd name="connsiteX3" fmla="*/ 175 w 1044473"/>
              <a:gd name="connsiteY3" fmla="*/ 507603 h 1037537"/>
              <a:gd name="connsiteX4" fmla="*/ 522269 w 1044473"/>
              <a:gd name="connsiteY4" fmla="*/ 171 h 103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473" h="1037537">
                <a:moveTo>
                  <a:pt x="522269" y="171"/>
                </a:moveTo>
                <a:cubicBezTo>
                  <a:pt x="848049" y="7150"/>
                  <a:pt x="1051279" y="204168"/>
                  <a:pt x="1044299" y="530013"/>
                </a:cubicBezTo>
                <a:cubicBezTo>
                  <a:pt x="1037512" y="848431"/>
                  <a:pt x="825831" y="1043849"/>
                  <a:pt x="522269" y="1037382"/>
                </a:cubicBezTo>
                <a:cubicBezTo>
                  <a:pt x="188997" y="1030211"/>
                  <a:pt x="-6676" y="826021"/>
                  <a:pt x="175" y="507603"/>
                </a:cubicBezTo>
                <a:cubicBezTo>
                  <a:pt x="7154" y="181758"/>
                  <a:pt x="211215" y="-6488"/>
                  <a:pt x="522269" y="171"/>
                </a:cubicBezTo>
                <a:close/>
              </a:path>
            </a:pathLst>
          </a:custGeom>
          <a:solidFill>
            <a:srgbClr val="FFFFDE">
              <a:alpha val="72000"/>
            </a:srgbClr>
          </a:solidFill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267"/>
              </a:spcAft>
              <a:buNone/>
              <a:defRPr sz="16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Year/Date</a:t>
            </a:r>
          </a:p>
          <a:p>
            <a:pPr lvl="1"/>
            <a:r>
              <a:rPr lang="en-US" noProof="0" dirty="0"/>
              <a:t>Body copy goes here </a:t>
            </a:r>
          </a:p>
          <a:p>
            <a:pPr lvl="1"/>
            <a:r>
              <a:rPr lang="en-US" noProof="0" dirty="0"/>
              <a:t>in </a:t>
            </a:r>
            <a:r>
              <a:rPr lang="en-US" noProof="0" dirty="0" err="1"/>
              <a:t>verdana</a:t>
            </a:r>
            <a:r>
              <a:rPr lang="en-US" noProof="0" dirty="0"/>
              <a:t> 7p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4FAF710-3D2C-4EA6-A787-F566ABCC0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062" y="370690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6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u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5" name="Espace réservé pour une image  8">
            <a:extLst>
              <a:ext uri="{FF2B5EF4-FFF2-40B4-BE49-F238E27FC236}">
                <a16:creationId xmlns:a16="http://schemas.microsoft.com/office/drawing/2014/main" id="{CC5C9632-E14B-4BCC-B960-B235737C8F5E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1885829" y="2275343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2" name="Espace réservé pour une image  8">
            <a:extLst>
              <a:ext uri="{FF2B5EF4-FFF2-40B4-BE49-F238E27FC236}">
                <a16:creationId xmlns:a16="http://schemas.microsoft.com/office/drawing/2014/main" id="{D248539B-6296-41E2-B2A7-32CAFE749EF1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5242862" y="2275343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3" name="Espace réservé pour une image  8">
            <a:extLst>
              <a:ext uri="{FF2B5EF4-FFF2-40B4-BE49-F238E27FC236}">
                <a16:creationId xmlns:a16="http://schemas.microsoft.com/office/drawing/2014/main" id="{C99700F4-131B-4BC3-9911-BC47E4952A9B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8608996" y="2275343"/>
            <a:ext cx="1814105" cy="1801248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99EBFDD5-74E4-455D-9724-A19D96C204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7121" y="6074874"/>
            <a:ext cx="10417759" cy="27699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2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Overarching subtext goes here in Verdana 7pt – if text box necessary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5C1F33E9-9CFD-C248-B455-84A70176E55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443789" y="4457406"/>
            <a:ext cx="2698183" cy="13874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667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2000" b="0">
                <a:solidFill>
                  <a:schemeClr val="accent2"/>
                </a:solidFill>
              </a:defRPr>
            </a:lvl1pPr>
            <a:lvl2pPr marL="0" indent="0" algn="ctr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Verd. 15pt</a:t>
            </a:r>
          </a:p>
          <a:p>
            <a:pPr lvl="1"/>
            <a:r>
              <a:rPr lang="en-US" noProof="0" dirty="0"/>
              <a:t>Body copy goes here in 9pt</a:t>
            </a:r>
          </a:p>
          <a:p>
            <a:pPr lvl="1"/>
            <a:r>
              <a:rPr lang="en-US" noProof="0" dirty="0"/>
              <a:t>Line 2</a:t>
            </a:r>
          </a:p>
          <a:p>
            <a:pPr lvl="1"/>
            <a:r>
              <a:rPr lang="en-US" noProof="0" dirty="0"/>
              <a:t>Line 3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07B91730-598B-3A45-B533-0E89A10E5AB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75609" y="4457406"/>
            <a:ext cx="2698183" cy="13874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667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2000" b="0">
                <a:solidFill>
                  <a:schemeClr val="accent2"/>
                </a:solidFill>
              </a:defRPr>
            </a:lvl1pPr>
            <a:lvl2pPr marL="0" indent="0" algn="ctr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Verd. 15pt</a:t>
            </a:r>
          </a:p>
          <a:p>
            <a:pPr lvl="1"/>
            <a:r>
              <a:rPr lang="en-US" noProof="0" dirty="0"/>
              <a:t>Body copy goes here in 9pt</a:t>
            </a:r>
          </a:p>
          <a:p>
            <a:pPr lvl="1"/>
            <a:r>
              <a:rPr lang="en-US" noProof="0" dirty="0"/>
              <a:t>Line 2</a:t>
            </a:r>
          </a:p>
          <a:p>
            <a:pPr lvl="1"/>
            <a:r>
              <a:rPr lang="en-US" noProof="0" dirty="0"/>
              <a:t>Line 3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ED327B16-2D28-E74D-80D9-FCA946C0498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809698" y="4457406"/>
            <a:ext cx="2698183" cy="13874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667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2000" b="0">
                <a:solidFill>
                  <a:schemeClr val="accent2"/>
                </a:solidFill>
              </a:defRPr>
            </a:lvl1pPr>
            <a:lvl2pPr marL="0" indent="0" algn="ctr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Verd. 15pt</a:t>
            </a:r>
          </a:p>
          <a:p>
            <a:pPr lvl="1"/>
            <a:r>
              <a:rPr lang="en-US" noProof="0" dirty="0"/>
              <a:t>Body copy goes here in 9pt</a:t>
            </a:r>
          </a:p>
          <a:p>
            <a:pPr lvl="1"/>
            <a:r>
              <a:rPr lang="en-US" noProof="0" dirty="0"/>
              <a:t>Line 2</a:t>
            </a:r>
          </a:p>
          <a:p>
            <a:pPr lvl="1"/>
            <a:r>
              <a:rPr lang="en-US" noProof="0" dirty="0"/>
              <a:t>Line 3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BD92977-6456-4F81-9A2E-322E82DBE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884" y="365753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17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.Body_Text&amp;Visual_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99EBFDD5-74E4-455D-9724-A19D96C204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1323" y="2023118"/>
            <a:ext cx="5387175" cy="33855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IN ALLCAPS VERDANA 12PT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102EE37F-49C7-4E9B-9C3D-B4ED45E9471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095999" y="2023118"/>
            <a:ext cx="5387175" cy="33855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Header IN ALLCAPS VERDANA 12PT</a:t>
            </a:r>
          </a:p>
        </p:txBody>
      </p:sp>
      <p:sp>
        <p:nvSpPr>
          <p:cNvPr id="16" name="Espace réservé pour une image  3">
            <a:extLst>
              <a:ext uri="{FF2B5EF4-FFF2-40B4-BE49-F238E27FC236}">
                <a16:creationId xmlns:a16="http://schemas.microsoft.com/office/drawing/2014/main" id="{53ACCDE3-920E-4B07-97C0-4268A8816D7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4974" y="2384670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BA1D5B65-0ABB-49CE-B750-F373B8CD7F3C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096001" y="2384670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0B13997-CC8E-4CA7-BC9F-1E2FE9781D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56143" y="2410069"/>
            <a:ext cx="2782356" cy="3838102"/>
          </a:xfrm>
        </p:spPr>
        <p:txBody>
          <a:bodyPr wrap="square">
            <a:spAutoFit/>
          </a:bodyPr>
          <a:lstStyle>
            <a:lvl1pPr>
              <a:lnSpc>
                <a:spcPct val="125000"/>
              </a:lnSpc>
              <a:spcAft>
                <a:spcPts val="0"/>
              </a:spcAft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marR="0" indent="-1714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spcAft>
                <a:spcPts val="2400"/>
              </a:spcAft>
              <a:defRPr lang="en-US" sz="1200" b="0" i="0" kern="12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12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  <a:p>
            <a:pPr lvl="0"/>
            <a:endParaRPr lang="en-US" noProof="0" dirty="0"/>
          </a:p>
          <a:p>
            <a:pPr lvl="1"/>
            <a:r>
              <a:rPr lang="en-US" noProof="0" dirty="0"/>
              <a:t>Bullet point level in Verdana 9pt</a:t>
            </a:r>
          </a:p>
          <a:p>
            <a:pPr lvl="1"/>
            <a:r>
              <a:rPr lang="en-US" noProof="0" dirty="0"/>
              <a:t>Bullet point 2</a:t>
            </a:r>
          </a:p>
          <a:p>
            <a:pPr lvl="1"/>
            <a:r>
              <a:rPr lang="en-US" noProof="0" dirty="0"/>
              <a:t>Bullet point 3</a:t>
            </a:r>
          </a:p>
          <a:p>
            <a:pPr lvl="1"/>
            <a:endParaRPr lang="en-US" noProof="0" dirty="0"/>
          </a:p>
          <a:p>
            <a:pPr lvl="2"/>
            <a:r>
              <a:rPr lang="en-US" noProof="0" dirty="0"/>
              <a:t>Body copy goes here in Verdana 9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2F116EA8-5445-47B3-947A-920077D67D8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719525" y="2410069"/>
            <a:ext cx="2782356" cy="3838102"/>
          </a:xfrm>
        </p:spPr>
        <p:txBody>
          <a:bodyPr wrap="square">
            <a:spAutoFit/>
          </a:bodyPr>
          <a:lstStyle>
            <a:lvl1pPr>
              <a:lnSpc>
                <a:spcPct val="125000"/>
              </a:lnSpc>
              <a:spcAft>
                <a:spcPts val="0"/>
              </a:spcAft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marR="0" indent="-1714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spcAft>
                <a:spcPts val="2400"/>
              </a:spcAft>
              <a:defRPr lang="en-US" sz="1200" b="0" i="0" kern="12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Body copy goes here in Verdana 12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  <a:p>
            <a:pPr lvl="0"/>
            <a:endParaRPr lang="en-US" noProof="0" dirty="0"/>
          </a:p>
          <a:p>
            <a:pPr lvl="1"/>
            <a:r>
              <a:rPr lang="en-US" noProof="0" dirty="0"/>
              <a:t>Bullet point level in Verdana 9pt</a:t>
            </a:r>
          </a:p>
          <a:p>
            <a:pPr lvl="1"/>
            <a:r>
              <a:rPr lang="en-US" noProof="0" dirty="0"/>
              <a:t>Bullet point 2</a:t>
            </a:r>
          </a:p>
          <a:p>
            <a:pPr lvl="1"/>
            <a:r>
              <a:rPr lang="en-US" noProof="0" dirty="0"/>
              <a:t>Bullet point 3</a:t>
            </a:r>
          </a:p>
          <a:p>
            <a:pPr lvl="1"/>
            <a:endParaRPr lang="en-US" noProof="0" dirty="0"/>
          </a:p>
          <a:p>
            <a:pPr lvl="2"/>
            <a:r>
              <a:rPr lang="en-US" noProof="0" dirty="0"/>
              <a:t>Body copy goes here in Verdana 9pt</a:t>
            </a:r>
            <a:br>
              <a:rPr lang="en-US" noProof="0" dirty="0"/>
            </a:br>
            <a:r>
              <a:rPr lang="en-US" noProof="0" dirty="0"/>
              <a:t>Line 2</a:t>
            </a:r>
            <a:br>
              <a:rPr lang="en-US" noProof="0" dirty="0"/>
            </a:br>
            <a:r>
              <a:rPr lang="en-US" noProof="0" dirty="0"/>
              <a:t>Line 3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5999050-FEA1-4953-AD6B-0FD3F0370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969" y="380535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.Series_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6A66775-D99C-FB4D-B9BA-F866BE69C7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412369" y="5249293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168A2321-51C0-44B8-85CC-82C00400516F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4846823" y="2266949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Espace réservé pour une image  8">
            <a:extLst>
              <a:ext uri="{FF2B5EF4-FFF2-40B4-BE49-F238E27FC236}">
                <a16:creationId xmlns:a16="http://schemas.microsoft.com/office/drawing/2014/main" id="{6749475C-69E4-4BE9-A38D-7241DCB89E86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7555773" y="2266949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Espace réservé pour une image  8">
            <a:extLst>
              <a:ext uri="{FF2B5EF4-FFF2-40B4-BE49-F238E27FC236}">
                <a16:creationId xmlns:a16="http://schemas.microsoft.com/office/drawing/2014/main" id="{53004C71-88FB-4D84-AF67-163F0A8F5713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10264724" y="2266949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Espace réservé pour une image  8">
            <a:extLst>
              <a:ext uri="{FF2B5EF4-FFF2-40B4-BE49-F238E27FC236}">
                <a16:creationId xmlns:a16="http://schemas.microsoft.com/office/drawing/2014/main" id="{2DBF61FA-A35E-4273-8034-DAAC1ECD9D13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4846823" y="4381911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pour une image  8">
            <a:extLst>
              <a:ext uri="{FF2B5EF4-FFF2-40B4-BE49-F238E27FC236}">
                <a16:creationId xmlns:a16="http://schemas.microsoft.com/office/drawing/2014/main" id="{2789384D-EA94-4052-B57F-95DE218737E1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7555773" y="4381911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Espace réservé pour une image  8">
            <a:extLst>
              <a:ext uri="{FF2B5EF4-FFF2-40B4-BE49-F238E27FC236}">
                <a16:creationId xmlns:a16="http://schemas.microsoft.com/office/drawing/2014/main" id="{A400283B-48F4-4D29-A5D4-EF54E4DEE830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10264724" y="4381911"/>
            <a:ext cx="705803" cy="700800"/>
          </a:xfrm>
          <a:custGeom>
            <a:avLst/>
            <a:gdLst>
              <a:gd name="connsiteX0" fmla="*/ 2060531 w 4210385"/>
              <a:gd name="connsiteY0" fmla="*/ 0 h 4180540"/>
              <a:gd name="connsiteX1" fmla="*/ 4210385 w 4210385"/>
              <a:gd name="connsiteY1" fmla="*/ 2090481 h 4180540"/>
              <a:gd name="connsiteX2" fmla="*/ 2150107 w 4210385"/>
              <a:gd name="connsiteY2" fmla="*/ 4180540 h 4180540"/>
              <a:gd name="connsiteX3" fmla="*/ 1 w 4210385"/>
              <a:gd name="connsiteY3" fmla="*/ 2090329 h 4180540"/>
              <a:gd name="connsiteX4" fmla="*/ 2060531 w 4210385"/>
              <a:gd name="connsiteY4" fmla="*/ 0 h 418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0385" h="4180540">
                <a:moveTo>
                  <a:pt x="2060531" y="0"/>
                </a:moveTo>
                <a:cubicBezTo>
                  <a:pt x="3374243" y="0"/>
                  <a:pt x="4210385" y="776533"/>
                  <a:pt x="4210385" y="2090481"/>
                </a:cubicBezTo>
                <a:cubicBezTo>
                  <a:pt x="4210536" y="3374486"/>
                  <a:pt x="3374209" y="4180389"/>
                  <a:pt x="2150107" y="4180540"/>
                </a:cubicBezTo>
                <a:cubicBezTo>
                  <a:pt x="806184" y="4180422"/>
                  <a:pt x="-117" y="3374334"/>
                  <a:pt x="1" y="2090329"/>
                </a:cubicBezTo>
                <a:cubicBezTo>
                  <a:pt x="-16" y="776398"/>
                  <a:pt x="806217" y="34"/>
                  <a:pt x="2060531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42CCC6AE-5AF4-4691-BF67-CE2AE425B9A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12369" y="3132079"/>
            <a:ext cx="1585275" cy="96693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8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6D6398C9-77BD-0246-B4C7-E8636466B43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826711" y="3132079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F64D3D11-BDB5-D647-AE1B-75549238F3C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119540" y="3132079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4E9486BD-46D7-254F-A584-B651B6D8D43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26711" y="5249293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95667BD6-1D89-BF44-9AC0-03B52EFC58E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119540" y="5249293"/>
            <a:ext cx="1585275" cy="1130951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Clr>
                <a:schemeClr val="accent2"/>
              </a:buClr>
              <a:buFont typeface="Wingdings 2" panose="05020102010507070707" pitchFamily="18" charset="2"/>
              <a:buNone/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33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Icon header in Verdana 12</a:t>
            </a:r>
          </a:p>
          <a:p>
            <a:pPr lvl="2"/>
            <a:r>
              <a:rPr lang="en-US" noProof="0" dirty="0"/>
              <a:t>Subtext level Verdana 6pt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A265111-C2ED-45CD-9BC6-C950D268B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881" y="427295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4217EF9-0D5E-427F-84CE-0FEB371DB5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711235"/>
            <a:ext cx="2827447" cy="241624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509588" indent="-33972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914400" indent="-285750">
              <a:buFont typeface="Arial" panose="020B0604020202020204" pitchFamily="34" charset="0"/>
              <a:buChar char="•"/>
              <a:tabLst>
                <a:tab pos="1201738" algn="l"/>
              </a:tabLst>
              <a:defRPr>
                <a:solidFill>
                  <a:schemeClr val="tx1"/>
                </a:solidFill>
              </a:defRPr>
            </a:lvl3pPr>
            <a:lvl4pPr marL="1201738" indent="-2873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152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381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99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135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98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marL="0" indent="0" algn="r">
              <a:lnSpc>
                <a:spcPct val="110000"/>
              </a:lnSpc>
              <a:buNone/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624723"/>
          </a:xfr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614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6057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5970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992836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5882" y="5779487"/>
            <a:ext cx="1379716" cy="487634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0457" y="160479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1293" y="2329204"/>
            <a:ext cx="2827013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2" name="Graphique 7">
            <a:extLst>
              <a:ext uri="{FF2B5EF4-FFF2-40B4-BE49-F238E27FC236}">
                <a16:creationId xmlns:a16="http://schemas.microsoft.com/office/drawing/2014/main" id="{9B64CDE9-406F-49D7-BEB2-063D90776C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3" name="Forme libre : forme 9">
              <a:extLst>
                <a:ext uri="{FF2B5EF4-FFF2-40B4-BE49-F238E27FC236}">
                  <a16:creationId xmlns:a16="http://schemas.microsoft.com/office/drawing/2014/main" id="{F6976D5A-B55E-4E69-A52E-25E4A63064EE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54" name="Forme libre : forme 10">
              <a:extLst>
                <a:ext uri="{FF2B5EF4-FFF2-40B4-BE49-F238E27FC236}">
                  <a16:creationId xmlns:a16="http://schemas.microsoft.com/office/drawing/2014/main" id="{5451173D-1ED5-49C5-AE67-A42E9724295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55" name="Forme libre : forme 11">
              <a:extLst>
                <a:ext uri="{FF2B5EF4-FFF2-40B4-BE49-F238E27FC236}">
                  <a16:creationId xmlns:a16="http://schemas.microsoft.com/office/drawing/2014/main" id="{442566DB-B6FC-4B7A-A79D-932C4CDCF7A9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67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10">
            <a:extLst>
              <a:ext uri="{FF2B5EF4-FFF2-40B4-BE49-F238E27FC236}">
                <a16:creationId xmlns:a16="http://schemas.microsoft.com/office/drawing/2014/main" id="{B18BC258-6DEA-4175-8CC2-11DD4FF1B5C6}"/>
              </a:ext>
            </a:extLst>
          </p:cNvPr>
          <p:cNvSpPr/>
          <p:nvPr userDrawn="1"/>
        </p:nvSpPr>
        <p:spPr>
          <a:xfrm>
            <a:off x="-2" y="-21294"/>
            <a:ext cx="12192002" cy="6879294"/>
          </a:xfrm>
          <a:prstGeom prst="rect">
            <a:avLst/>
          </a:pr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s-E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293441-EBBA-4CBD-95C9-F49BC70B6171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4DF6AB4-C8DE-4C3F-B999-02720DB8197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099CEEA5-8A5D-43EC-AF9E-7938DFE43651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CFADFB5E-6042-457B-B672-623BEF97419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43BE12B-7543-4625-B8F4-3E8CE1E0A4D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28" name="Hexagon 27">
                <a:extLst>
                  <a:ext uri="{FF2B5EF4-FFF2-40B4-BE49-F238E27FC236}">
                    <a16:creationId xmlns:a16="http://schemas.microsoft.com/office/drawing/2014/main" id="{9C9B5B6F-5C7A-4336-AB10-6B0AB1D40098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Hexagon 28">
                <a:extLst>
                  <a:ext uri="{FF2B5EF4-FFF2-40B4-BE49-F238E27FC236}">
                    <a16:creationId xmlns:a16="http://schemas.microsoft.com/office/drawing/2014/main" id="{A3892351-9B42-47FD-ADF1-962B76AC14B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71B65988-6FF6-4996-8690-22D1EEE91B58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FF75EC0-7E42-4D1C-A7EA-66F6BD6BFCA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D3BCC154-AFBD-40AB-B936-5E7902462FA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Hexagon 26">
                <a:extLst>
                  <a:ext uri="{FF2B5EF4-FFF2-40B4-BE49-F238E27FC236}">
                    <a16:creationId xmlns:a16="http://schemas.microsoft.com/office/drawing/2014/main" id="{2995806C-0642-48F1-BDBD-E6152BE263C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219C843-800F-44F8-8D23-A964E27938F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3" name="Hexagon 22">
                <a:extLst>
                  <a:ext uri="{FF2B5EF4-FFF2-40B4-BE49-F238E27FC236}">
                    <a16:creationId xmlns:a16="http://schemas.microsoft.com/office/drawing/2014/main" id="{C3EC4150-BF8B-4C03-8AE2-4981A555713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C1BD3620-6D2A-40F2-92DE-8E51F28D789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70CDFA0B-36EC-47D6-91E2-97477FE6831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47AD3083-7725-4D86-9F0C-77641F9E6F1D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09AF2A28-52B6-4BBC-BD88-811373A945A2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95552884-20DE-4CF2-9E19-385EA14F5681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A393C2-6932-4535-BBBC-08954401DC3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20" name="Hexagon 19">
                <a:extLst>
                  <a:ext uri="{FF2B5EF4-FFF2-40B4-BE49-F238E27FC236}">
                    <a16:creationId xmlns:a16="http://schemas.microsoft.com/office/drawing/2014/main" id="{D87AACAF-0AC0-4EC9-B81A-58760618A4EB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50C9DCEC-2B6F-40C0-B647-BDD2989FBE8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681A7A00-9063-4F0A-8E01-60FD0E6B7423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082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440683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7143092" cy="33804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336439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336439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440683" cy="1013611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4036973"/>
            <a:ext cx="1694284" cy="981294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429000"/>
            <a:ext cx="1694284" cy="479875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5FC8935F-F5EA-4DB5-90D3-9384F30C82A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1589" y="167484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596FBAD-4CB5-4D66-A5F6-908C981D1CB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69084" y="2513023"/>
            <a:ext cx="2827447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DFF01B2-F39C-498F-AD84-0EA02C0F8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4" name="Graphique 7">
            <a:extLst>
              <a:ext uri="{FF2B5EF4-FFF2-40B4-BE49-F238E27FC236}">
                <a16:creationId xmlns:a16="http://schemas.microsoft.com/office/drawing/2014/main" id="{E8290A22-F381-46FE-ADAB-99EA161EAC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46" name="Forme libre : forme 9">
              <a:extLst>
                <a:ext uri="{FF2B5EF4-FFF2-40B4-BE49-F238E27FC236}">
                  <a16:creationId xmlns:a16="http://schemas.microsoft.com/office/drawing/2014/main" id="{80FA3ABE-3B7B-4847-8146-1133F3B4FFD6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48" name="Forme libre : forme 10">
              <a:extLst>
                <a:ext uri="{FF2B5EF4-FFF2-40B4-BE49-F238E27FC236}">
                  <a16:creationId xmlns:a16="http://schemas.microsoft.com/office/drawing/2014/main" id="{F3A8C72A-E85D-4023-B5E7-85DFA2D798B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49" name="Forme libre : forme 11">
              <a:extLst>
                <a:ext uri="{FF2B5EF4-FFF2-40B4-BE49-F238E27FC236}">
                  <a16:creationId xmlns:a16="http://schemas.microsoft.com/office/drawing/2014/main" id="{1E1E3265-C7FB-4CA8-915C-7BBD15632FC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22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.ColumnTitle+3columns_NoVisual_Colo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DBD28644-31E5-42EB-A359-94FBB151C4BA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>
              <a:latin typeface="Verdana" panose="020B060403050404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A2CA514-4233-4338-B4D8-DECD377FF6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2911" y="1943800"/>
            <a:ext cx="1841499" cy="78087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sz="1600" b="0" cap="none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1333">
                <a:latin typeface="LOREAL Royale" pitchFamily="2" charset="0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</a:t>
            </a:r>
          </a:p>
          <a:p>
            <a:pPr lvl="0"/>
            <a:r>
              <a:rPr lang="en-US" noProof="0" dirty="0"/>
              <a:t>ipsum </a:t>
            </a:r>
          </a:p>
        </p:txBody>
      </p:sp>
      <p:sp>
        <p:nvSpPr>
          <p:cNvPr id="14" name="Espace réservé du graphique SmartArt 10">
            <a:extLst>
              <a:ext uri="{FF2B5EF4-FFF2-40B4-BE49-F238E27FC236}">
                <a16:creationId xmlns:a16="http://schemas.microsoft.com/office/drawing/2014/main" id="{19B0CBA6-8D91-40B7-A08B-3172CF7A8299}"/>
              </a:ext>
            </a:extLst>
          </p:cNvPr>
          <p:cNvSpPr>
            <a:spLocks noGrp="1"/>
          </p:cNvSpPr>
          <p:nvPr>
            <p:ph type="dgm" sz="quarter" idx="44"/>
          </p:nvPr>
        </p:nvSpPr>
        <p:spPr>
          <a:xfrm rot="5400000">
            <a:off x="5393937" y="1853646"/>
            <a:ext cx="99444" cy="184149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299C77F5-F32E-41C3-BEFC-25D7AC59AB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522910" y="4600059"/>
            <a:ext cx="1841497" cy="1073147"/>
          </a:xfrm>
          <a:noFill/>
          <a:ln w="9525">
            <a:solidFill>
              <a:schemeClr val="accent2"/>
            </a:solidFill>
          </a:ln>
        </p:spPr>
        <p:txBody>
          <a:bodyPr lIns="0" anchor="ctr">
            <a:noAutofit/>
          </a:bodyPr>
          <a:lstStyle>
            <a:lvl1pPr algn="ctr">
              <a:lnSpc>
                <a:spcPct val="90000"/>
              </a:lnSpc>
              <a:defRPr sz="1200" b="0" cap="none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0" indent="0" algn="ctr">
              <a:lnSpc>
                <a:spcPct val="90000"/>
              </a:lnSpc>
              <a:buNone/>
              <a:defRPr kumimoji="0" lang="fr-FR" sz="1667" b="0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LOREAL Royale" pitchFamily="2" charset="0"/>
                <a:ea typeface="+mn-ea"/>
                <a:cs typeface="+mn-cs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</p:txBody>
      </p:sp>
      <p:sp>
        <p:nvSpPr>
          <p:cNvPr id="16" name="Espace réservé du graphique SmartArt 47">
            <a:extLst>
              <a:ext uri="{FF2B5EF4-FFF2-40B4-BE49-F238E27FC236}">
                <a16:creationId xmlns:a16="http://schemas.microsoft.com/office/drawing/2014/main" id="{92E82BE4-7D85-4A10-9D30-E2BA20C54B67}"/>
              </a:ext>
            </a:extLst>
          </p:cNvPr>
          <p:cNvSpPr>
            <a:spLocks noGrp="1" noChangeAspect="1"/>
          </p:cNvSpPr>
          <p:nvPr>
            <p:ph type="dgm" sz="quarter" idx="70"/>
          </p:nvPr>
        </p:nvSpPr>
        <p:spPr>
          <a:xfrm rot="5400000">
            <a:off x="5349433" y="4067684"/>
            <a:ext cx="188448" cy="361955"/>
          </a:xfrm>
          <a:custGeom>
            <a:avLst/>
            <a:gdLst>
              <a:gd name="connsiteX0" fmla="*/ 6561 w 141336"/>
              <a:gd name="connsiteY0" fmla="*/ 211367 h 221456"/>
              <a:gd name="connsiteX1" fmla="*/ 132807 w 141336"/>
              <a:gd name="connsiteY1" fmla="*/ 110734 h 221456"/>
              <a:gd name="connsiteX2" fmla="*/ 6561 w 141336"/>
              <a:gd name="connsiteY2" fmla="*/ 10089 h 221456"/>
              <a:gd name="connsiteX3" fmla="*/ 0 w 141336"/>
              <a:gd name="connsiteY3" fmla="*/ 218178 h 221456"/>
              <a:gd name="connsiteX4" fmla="*/ 0 w 141336"/>
              <a:gd name="connsiteY4" fmla="*/ 3279 h 221456"/>
              <a:gd name="connsiteX5" fmla="*/ 1863 w 141336"/>
              <a:gd name="connsiteY5" fmla="*/ 327 h 221456"/>
              <a:gd name="connsiteX6" fmla="*/ 5327 w 141336"/>
              <a:gd name="connsiteY6" fmla="*/ 720 h 221456"/>
              <a:gd name="connsiteX7" fmla="*/ 140103 w 141336"/>
              <a:gd name="connsiteY7" fmla="*/ 108162 h 221456"/>
              <a:gd name="connsiteX8" fmla="*/ 141336 w 141336"/>
              <a:gd name="connsiteY8" fmla="*/ 110734 h 221456"/>
              <a:gd name="connsiteX9" fmla="*/ 140103 w 141336"/>
              <a:gd name="connsiteY9" fmla="*/ 113293 h 221456"/>
              <a:gd name="connsiteX10" fmla="*/ 5327 w 141336"/>
              <a:gd name="connsiteY10" fmla="*/ 220749 h 221456"/>
              <a:gd name="connsiteX11" fmla="*/ 1863 w 141336"/>
              <a:gd name="connsiteY11" fmla="*/ 221130 h 221456"/>
              <a:gd name="connsiteX12" fmla="*/ 0 w 141336"/>
              <a:gd name="connsiteY12" fmla="*/ 218178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1336" h="221456">
                <a:moveTo>
                  <a:pt x="6561" y="211367"/>
                </a:moveTo>
                <a:lnTo>
                  <a:pt x="132807" y="110734"/>
                </a:lnTo>
                <a:lnTo>
                  <a:pt x="6561" y="10089"/>
                </a:lnTo>
                <a:close/>
                <a:moveTo>
                  <a:pt x="0" y="218178"/>
                </a:moveTo>
                <a:lnTo>
                  <a:pt x="0" y="3279"/>
                </a:lnTo>
                <a:cubicBezTo>
                  <a:pt x="0" y="2019"/>
                  <a:pt x="721" y="878"/>
                  <a:pt x="1863" y="327"/>
                </a:cubicBezTo>
                <a:cubicBezTo>
                  <a:pt x="2992" y="-225"/>
                  <a:pt x="4330" y="-67"/>
                  <a:pt x="5327" y="720"/>
                </a:cubicBezTo>
                <a:lnTo>
                  <a:pt x="140103" y="108162"/>
                </a:lnTo>
                <a:cubicBezTo>
                  <a:pt x="140890" y="108793"/>
                  <a:pt x="141336" y="109724"/>
                  <a:pt x="141336" y="110734"/>
                </a:cubicBezTo>
                <a:cubicBezTo>
                  <a:pt x="141336" y="111732"/>
                  <a:pt x="140890" y="112677"/>
                  <a:pt x="140103" y="113293"/>
                </a:cubicBezTo>
                <a:lnTo>
                  <a:pt x="5327" y="220749"/>
                </a:lnTo>
                <a:cubicBezTo>
                  <a:pt x="4330" y="221523"/>
                  <a:pt x="2992" y="221681"/>
                  <a:pt x="1863" y="221130"/>
                </a:cubicBezTo>
                <a:cubicBezTo>
                  <a:pt x="721" y="220592"/>
                  <a:pt x="0" y="219437"/>
                  <a:pt x="0" y="218178"/>
                </a:cubicBezTo>
                <a:close/>
              </a:path>
            </a:pathLst>
          </a:custGeom>
          <a:solidFill>
            <a:schemeClr val="accent2"/>
          </a:solidFill>
          <a:ln w="6350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17" name="Espace réservé du texte 18">
            <a:extLst>
              <a:ext uri="{FF2B5EF4-FFF2-40B4-BE49-F238E27FC236}">
                <a16:creationId xmlns:a16="http://schemas.microsoft.com/office/drawing/2014/main" id="{40A17507-5CAB-41A8-8654-A943A0B8BB4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22910" y="2824117"/>
            <a:ext cx="1841497" cy="1073148"/>
          </a:xfrm>
          <a:custGeom>
            <a:avLst/>
            <a:gdLst>
              <a:gd name="connsiteX0" fmla="*/ 0 w 1744470"/>
              <a:gd name="connsiteY0" fmla="*/ 0 h 1095374"/>
              <a:gd name="connsiteX1" fmla="*/ 1744470 w 1744470"/>
              <a:gd name="connsiteY1" fmla="*/ 0 h 1095374"/>
              <a:gd name="connsiteX2" fmla="*/ 1744470 w 1744470"/>
              <a:gd name="connsiteY2" fmla="*/ 1095374 h 1095374"/>
              <a:gd name="connsiteX3" fmla="*/ 0 w 1744470"/>
              <a:gd name="connsiteY3" fmla="*/ 1095374 h 109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470" h="1095374">
                <a:moveTo>
                  <a:pt x="0" y="0"/>
                </a:moveTo>
                <a:lnTo>
                  <a:pt x="1744470" y="0"/>
                </a:lnTo>
                <a:lnTo>
                  <a:pt x="1744470" y="1095374"/>
                </a:lnTo>
                <a:lnTo>
                  <a:pt x="0" y="1095374"/>
                </a:lnTo>
                <a:close/>
              </a:path>
            </a:pathLst>
          </a:custGeom>
          <a:solidFill>
            <a:srgbClr val="F5F3F8"/>
          </a:solidFill>
        </p:spPr>
        <p:txBody>
          <a:bodyPr wrap="square" lIns="0" tIns="0" rIns="0" bIns="0" numCol="1" spcCol="108000" anchor="ctr" anchorCtr="0">
            <a:noAutofit/>
          </a:bodyPr>
          <a:lstStyle>
            <a:lvl1pPr algn="ctr">
              <a:lnSpc>
                <a:spcPct val="113000"/>
              </a:lnSpc>
              <a:defRPr sz="1200">
                <a:solidFill>
                  <a:schemeClr val="tx1"/>
                </a:solidFill>
              </a:defRPr>
            </a:lvl1pPr>
            <a:lvl2pPr algn="ctr">
              <a:lnSpc>
                <a:spcPct val="113000"/>
              </a:lnSpc>
              <a:buClr>
                <a:schemeClr val="accent1"/>
              </a:buClr>
              <a:defRPr sz="1200" b="1">
                <a:solidFill>
                  <a:schemeClr val="tx1"/>
                </a:solidFill>
              </a:defRPr>
            </a:lvl2pPr>
            <a:lvl3pPr>
              <a:lnSpc>
                <a:spcPct val="113000"/>
              </a:lnSpc>
              <a:defRPr sz="1000" b="1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13000"/>
              </a:lnSpc>
              <a:defRPr sz="1000"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  <a:p>
            <a:pPr lvl="1"/>
            <a:r>
              <a:rPr lang="en-US" noProof="0" dirty="0"/>
              <a:t>Et </a:t>
            </a:r>
            <a:r>
              <a:rPr lang="en-US" noProof="0" dirty="0" err="1"/>
              <a:t>fuga</a:t>
            </a:r>
            <a:endParaRPr lang="en-US" noProof="0" dirty="0"/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ACDFF36C-2E3B-4F84-8FD6-D84E5419FB83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016329" y="1943800"/>
            <a:ext cx="1841499" cy="78087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sz="1600" b="0" cap="none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1333">
                <a:latin typeface="LOREAL Royale" pitchFamily="2" charset="0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</a:t>
            </a:r>
          </a:p>
          <a:p>
            <a:pPr lvl="0"/>
            <a:r>
              <a:rPr lang="en-US" noProof="0" dirty="0"/>
              <a:t>ipsum </a:t>
            </a:r>
          </a:p>
        </p:txBody>
      </p:sp>
      <p:sp>
        <p:nvSpPr>
          <p:cNvPr id="19" name="Espace réservé du graphique SmartArt 10">
            <a:extLst>
              <a:ext uri="{FF2B5EF4-FFF2-40B4-BE49-F238E27FC236}">
                <a16:creationId xmlns:a16="http://schemas.microsoft.com/office/drawing/2014/main" id="{4AEDDBF7-5EA9-4A49-8B8C-79110C43EB76}"/>
              </a:ext>
            </a:extLst>
          </p:cNvPr>
          <p:cNvSpPr>
            <a:spLocks noGrp="1"/>
          </p:cNvSpPr>
          <p:nvPr>
            <p:ph type="dgm" sz="quarter" idx="72"/>
          </p:nvPr>
        </p:nvSpPr>
        <p:spPr>
          <a:xfrm rot="5400000">
            <a:off x="7887355" y="1853646"/>
            <a:ext cx="99444" cy="184149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DA3F9611-A7F0-42CE-AE25-854FF5FA6DE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016329" y="4600059"/>
            <a:ext cx="1841497" cy="1073147"/>
          </a:xfrm>
          <a:noFill/>
          <a:ln w="9525">
            <a:solidFill>
              <a:schemeClr val="accent2"/>
            </a:solidFill>
          </a:ln>
        </p:spPr>
        <p:txBody>
          <a:bodyPr lIns="0" anchor="ctr">
            <a:noAutofit/>
          </a:bodyPr>
          <a:lstStyle>
            <a:lvl1pPr algn="ctr">
              <a:lnSpc>
                <a:spcPct val="90000"/>
              </a:lnSpc>
              <a:defRPr sz="1200" b="0" cap="none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0" indent="0" algn="ctr">
              <a:lnSpc>
                <a:spcPct val="90000"/>
              </a:lnSpc>
              <a:buNone/>
              <a:defRPr kumimoji="0" lang="fr-FR" sz="1667" b="0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LOREAL Royale" pitchFamily="2" charset="0"/>
                <a:ea typeface="+mn-ea"/>
                <a:cs typeface="+mn-cs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</p:txBody>
      </p:sp>
      <p:sp>
        <p:nvSpPr>
          <p:cNvPr id="21" name="Espace réservé du graphique SmartArt 47">
            <a:extLst>
              <a:ext uri="{FF2B5EF4-FFF2-40B4-BE49-F238E27FC236}">
                <a16:creationId xmlns:a16="http://schemas.microsoft.com/office/drawing/2014/main" id="{4FAF97D0-F2E0-4F84-94DB-1F8CA6FFD747}"/>
              </a:ext>
            </a:extLst>
          </p:cNvPr>
          <p:cNvSpPr>
            <a:spLocks noGrp="1" noChangeAspect="1"/>
          </p:cNvSpPr>
          <p:nvPr>
            <p:ph type="dgm" sz="quarter" idx="74"/>
          </p:nvPr>
        </p:nvSpPr>
        <p:spPr>
          <a:xfrm rot="5400000">
            <a:off x="7842852" y="4067684"/>
            <a:ext cx="188448" cy="361955"/>
          </a:xfrm>
          <a:custGeom>
            <a:avLst/>
            <a:gdLst>
              <a:gd name="connsiteX0" fmla="*/ 6561 w 141336"/>
              <a:gd name="connsiteY0" fmla="*/ 211367 h 221456"/>
              <a:gd name="connsiteX1" fmla="*/ 132807 w 141336"/>
              <a:gd name="connsiteY1" fmla="*/ 110734 h 221456"/>
              <a:gd name="connsiteX2" fmla="*/ 6561 w 141336"/>
              <a:gd name="connsiteY2" fmla="*/ 10089 h 221456"/>
              <a:gd name="connsiteX3" fmla="*/ 0 w 141336"/>
              <a:gd name="connsiteY3" fmla="*/ 218178 h 221456"/>
              <a:gd name="connsiteX4" fmla="*/ 0 w 141336"/>
              <a:gd name="connsiteY4" fmla="*/ 3279 h 221456"/>
              <a:gd name="connsiteX5" fmla="*/ 1863 w 141336"/>
              <a:gd name="connsiteY5" fmla="*/ 327 h 221456"/>
              <a:gd name="connsiteX6" fmla="*/ 5327 w 141336"/>
              <a:gd name="connsiteY6" fmla="*/ 720 h 221456"/>
              <a:gd name="connsiteX7" fmla="*/ 140103 w 141336"/>
              <a:gd name="connsiteY7" fmla="*/ 108162 h 221456"/>
              <a:gd name="connsiteX8" fmla="*/ 141336 w 141336"/>
              <a:gd name="connsiteY8" fmla="*/ 110734 h 221456"/>
              <a:gd name="connsiteX9" fmla="*/ 140103 w 141336"/>
              <a:gd name="connsiteY9" fmla="*/ 113293 h 221456"/>
              <a:gd name="connsiteX10" fmla="*/ 5327 w 141336"/>
              <a:gd name="connsiteY10" fmla="*/ 220749 h 221456"/>
              <a:gd name="connsiteX11" fmla="*/ 1863 w 141336"/>
              <a:gd name="connsiteY11" fmla="*/ 221130 h 221456"/>
              <a:gd name="connsiteX12" fmla="*/ 0 w 141336"/>
              <a:gd name="connsiteY12" fmla="*/ 218178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1336" h="221456">
                <a:moveTo>
                  <a:pt x="6561" y="211367"/>
                </a:moveTo>
                <a:lnTo>
                  <a:pt x="132807" y="110734"/>
                </a:lnTo>
                <a:lnTo>
                  <a:pt x="6561" y="10089"/>
                </a:lnTo>
                <a:close/>
                <a:moveTo>
                  <a:pt x="0" y="218178"/>
                </a:moveTo>
                <a:lnTo>
                  <a:pt x="0" y="3279"/>
                </a:lnTo>
                <a:cubicBezTo>
                  <a:pt x="0" y="2019"/>
                  <a:pt x="721" y="878"/>
                  <a:pt x="1863" y="327"/>
                </a:cubicBezTo>
                <a:cubicBezTo>
                  <a:pt x="2992" y="-225"/>
                  <a:pt x="4330" y="-67"/>
                  <a:pt x="5327" y="720"/>
                </a:cubicBezTo>
                <a:lnTo>
                  <a:pt x="140103" y="108162"/>
                </a:lnTo>
                <a:cubicBezTo>
                  <a:pt x="140890" y="108793"/>
                  <a:pt x="141336" y="109724"/>
                  <a:pt x="141336" y="110734"/>
                </a:cubicBezTo>
                <a:cubicBezTo>
                  <a:pt x="141336" y="111732"/>
                  <a:pt x="140890" y="112677"/>
                  <a:pt x="140103" y="113293"/>
                </a:cubicBezTo>
                <a:lnTo>
                  <a:pt x="5327" y="220749"/>
                </a:lnTo>
                <a:cubicBezTo>
                  <a:pt x="4330" y="221523"/>
                  <a:pt x="2992" y="221681"/>
                  <a:pt x="1863" y="221130"/>
                </a:cubicBezTo>
                <a:cubicBezTo>
                  <a:pt x="721" y="220592"/>
                  <a:pt x="0" y="219437"/>
                  <a:pt x="0" y="218178"/>
                </a:cubicBezTo>
                <a:close/>
              </a:path>
            </a:pathLst>
          </a:custGeom>
          <a:solidFill>
            <a:schemeClr val="accent2"/>
          </a:solidFill>
          <a:ln w="6350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2" name="Espace réservé du texte 18">
            <a:extLst>
              <a:ext uri="{FF2B5EF4-FFF2-40B4-BE49-F238E27FC236}">
                <a16:creationId xmlns:a16="http://schemas.microsoft.com/office/drawing/2014/main" id="{0628E42C-71C0-48AF-8906-B29B4465CE3A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016329" y="2824117"/>
            <a:ext cx="1841497" cy="1073148"/>
          </a:xfrm>
          <a:custGeom>
            <a:avLst/>
            <a:gdLst>
              <a:gd name="connsiteX0" fmla="*/ 0 w 1744470"/>
              <a:gd name="connsiteY0" fmla="*/ 0 h 1095374"/>
              <a:gd name="connsiteX1" fmla="*/ 1744470 w 1744470"/>
              <a:gd name="connsiteY1" fmla="*/ 0 h 1095374"/>
              <a:gd name="connsiteX2" fmla="*/ 1744470 w 1744470"/>
              <a:gd name="connsiteY2" fmla="*/ 1095374 h 1095374"/>
              <a:gd name="connsiteX3" fmla="*/ 0 w 1744470"/>
              <a:gd name="connsiteY3" fmla="*/ 1095374 h 109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470" h="1095374">
                <a:moveTo>
                  <a:pt x="0" y="0"/>
                </a:moveTo>
                <a:lnTo>
                  <a:pt x="1744470" y="0"/>
                </a:lnTo>
                <a:lnTo>
                  <a:pt x="1744470" y="1095374"/>
                </a:lnTo>
                <a:lnTo>
                  <a:pt x="0" y="1095374"/>
                </a:lnTo>
                <a:close/>
              </a:path>
            </a:pathLst>
          </a:custGeom>
          <a:solidFill>
            <a:srgbClr val="F5F3F8"/>
          </a:solidFill>
        </p:spPr>
        <p:txBody>
          <a:bodyPr wrap="square" lIns="0" tIns="0" rIns="0" bIns="0" numCol="1" spcCol="108000" anchor="ctr" anchorCtr="0">
            <a:noAutofit/>
          </a:bodyPr>
          <a:lstStyle>
            <a:lvl1pPr algn="ctr">
              <a:lnSpc>
                <a:spcPct val="113000"/>
              </a:lnSpc>
              <a:defRPr sz="1200">
                <a:solidFill>
                  <a:schemeClr val="tx1"/>
                </a:solidFill>
              </a:defRPr>
            </a:lvl1pPr>
            <a:lvl2pPr algn="ctr">
              <a:lnSpc>
                <a:spcPct val="113000"/>
              </a:lnSpc>
              <a:buClr>
                <a:schemeClr val="accent1"/>
              </a:buClr>
              <a:defRPr sz="1200" b="1">
                <a:solidFill>
                  <a:schemeClr val="tx1"/>
                </a:solidFill>
              </a:defRPr>
            </a:lvl2pPr>
            <a:lvl3pPr>
              <a:lnSpc>
                <a:spcPct val="113000"/>
              </a:lnSpc>
              <a:defRPr sz="1000" b="1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13000"/>
              </a:lnSpc>
              <a:defRPr sz="1000"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  <a:p>
            <a:pPr lvl="1"/>
            <a:r>
              <a:rPr lang="en-US" noProof="0" dirty="0"/>
              <a:t>Et </a:t>
            </a:r>
            <a:r>
              <a:rPr lang="en-US" noProof="0" dirty="0" err="1"/>
              <a:t>fuga</a:t>
            </a:r>
            <a:endParaRPr lang="en-US" noProof="0" dirty="0"/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014C5F2-20B9-4C76-BD18-8D3A0724822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509757" y="1943800"/>
            <a:ext cx="1841499" cy="78087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sz="1600" b="0" cap="none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 sz="1333">
                <a:latin typeface="LOREAL Royale" pitchFamily="2" charset="0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</a:t>
            </a:r>
          </a:p>
          <a:p>
            <a:pPr lvl="0"/>
            <a:r>
              <a:rPr lang="en-US" noProof="0" dirty="0"/>
              <a:t>ipsum </a:t>
            </a:r>
          </a:p>
        </p:txBody>
      </p:sp>
      <p:sp>
        <p:nvSpPr>
          <p:cNvPr id="24" name="Espace réservé du graphique SmartArt 10">
            <a:extLst>
              <a:ext uri="{FF2B5EF4-FFF2-40B4-BE49-F238E27FC236}">
                <a16:creationId xmlns:a16="http://schemas.microsoft.com/office/drawing/2014/main" id="{2F86B678-A609-4B17-9715-9C6B93348626}"/>
              </a:ext>
            </a:extLst>
          </p:cNvPr>
          <p:cNvSpPr>
            <a:spLocks noGrp="1"/>
          </p:cNvSpPr>
          <p:nvPr>
            <p:ph type="dgm" sz="quarter" idx="77"/>
          </p:nvPr>
        </p:nvSpPr>
        <p:spPr>
          <a:xfrm rot="5400000">
            <a:off x="10380783" y="1853646"/>
            <a:ext cx="99444" cy="1841497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B15E812-EEBF-45E0-9F03-1A12E6B4DFD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509757" y="4600059"/>
            <a:ext cx="1841497" cy="1073147"/>
          </a:xfrm>
          <a:noFill/>
          <a:ln w="9525">
            <a:solidFill>
              <a:schemeClr val="accent2"/>
            </a:solidFill>
          </a:ln>
        </p:spPr>
        <p:txBody>
          <a:bodyPr lIns="0" anchor="ctr">
            <a:noAutofit/>
          </a:bodyPr>
          <a:lstStyle>
            <a:lvl1pPr algn="ctr">
              <a:lnSpc>
                <a:spcPct val="90000"/>
              </a:lnSpc>
              <a:defRPr sz="1200" b="0" cap="none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0" indent="0" algn="ctr">
              <a:lnSpc>
                <a:spcPct val="90000"/>
              </a:lnSpc>
              <a:buNone/>
              <a:defRPr kumimoji="0" lang="fr-FR" sz="1667" b="0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LOREAL Royale" pitchFamily="2" charset="0"/>
                <a:ea typeface="+mn-ea"/>
                <a:cs typeface="+mn-cs"/>
              </a:defRPr>
            </a:lvl2pPr>
            <a:lvl3pPr>
              <a:defRPr sz="1733" cap="none" baseline="0">
                <a:latin typeface="LOREAL Royale" pitchFamily="2" charset="0"/>
              </a:defRPr>
            </a:lvl3pPr>
            <a:lvl4pPr>
              <a:defRPr sz="1067" cap="none" baseline="0">
                <a:latin typeface="LOREAL Essentielle Light" pitchFamily="2" charset="0"/>
              </a:defRPr>
            </a:lvl4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</p:txBody>
      </p:sp>
      <p:sp>
        <p:nvSpPr>
          <p:cNvPr id="26" name="Espace réservé du graphique SmartArt 47">
            <a:extLst>
              <a:ext uri="{FF2B5EF4-FFF2-40B4-BE49-F238E27FC236}">
                <a16:creationId xmlns:a16="http://schemas.microsoft.com/office/drawing/2014/main" id="{6DFE7F26-F772-41BC-BA39-2787B3898D0F}"/>
              </a:ext>
            </a:extLst>
          </p:cNvPr>
          <p:cNvSpPr>
            <a:spLocks noGrp="1" noChangeAspect="1"/>
          </p:cNvSpPr>
          <p:nvPr>
            <p:ph type="dgm" sz="quarter" idx="79"/>
          </p:nvPr>
        </p:nvSpPr>
        <p:spPr>
          <a:xfrm rot="5400000">
            <a:off x="10336280" y="4067684"/>
            <a:ext cx="188448" cy="361955"/>
          </a:xfrm>
          <a:custGeom>
            <a:avLst/>
            <a:gdLst>
              <a:gd name="connsiteX0" fmla="*/ 6561 w 141336"/>
              <a:gd name="connsiteY0" fmla="*/ 211367 h 221456"/>
              <a:gd name="connsiteX1" fmla="*/ 132807 w 141336"/>
              <a:gd name="connsiteY1" fmla="*/ 110734 h 221456"/>
              <a:gd name="connsiteX2" fmla="*/ 6561 w 141336"/>
              <a:gd name="connsiteY2" fmla="*/ 10089 h 221456"/>
              <a:gd name="connsiteX3" fmla="*/ 0 w 141336"/>
              <a:gd name="connsiteY3" fmla="*/ 218178 h 221456"/>
              <a:gd name="connsiteX4" fmla="*/ 0 w 141336"/>
              <a:gd name="connsiteY4" fmla="*/ 3279 h 221456"/>
              <a:gd name="connsiteX5" fmla="*/ 1863 w 141336"/>
              <a:gd name="connsiteY5" fmla="*/ 327 h 221456"/>
              <a:gd name="connsiteX6" fmla="*/ 5327 w 141336"/>
              <a:gd name="connsiteY6" fmla="*/ 720 h 221456"/>
              <a:gd name="connsiteX7" fmla="*/ 140103 w 141336"/>
              <a:gd name="connsiteY7" fmla="*/ 108162 h 221456"/>
              <a:gd name="connsiteX8" fmla="*/ 141336 w 141336"/>
              <a:gd name="connsiteY8" fmla="*/ 110734 h 221456"/>
              <a:gd name="connsiteX9" fmla="*/ 140103 w 141336"/>
              <a:gd name="connsiteY9" fmla="*/ 113293 h 221456"/>
              <a:gd name="connsiteX10" fmla="*/ 5327 w 141336"/>
              <a:gd name="connsiteY10" fmla="*/ 220749 h 221456"/>
              <a:gd name="connsiteX11" fmla="*/ 1863 w 141336"/>
              <a:gd name="connsiteY11" fmla="*/ 221130 h 221456"/>
              <a:gd name="connsiteX12" fmla="*/ 0 w 141336"/>
              <a:gd name="connsiteY12" fmla="*/ 218178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1336" h="221456">
                <a:moveTo>
                  <a:pt x="6561" y="211367"/>
                </a:moveTo>
                <a:lnTo>
                  <a:pt x="132807" y="110734"/>
                </a:lnTo>
                <a:lnTo>
                  <a:pt x="6561" y="10089"/>
                </a:lnTo>
                <a:close/>
                <a:moveTo>
                  <a:pt x="0" y="218178"/>
                </a:moveTo>
                <a:lnTo>
                  <a:pt x="0" y="3279"/>
                </a:lnTo>
                <a:cubicBezTo>
                  <a:pt x="0" y="2019"/>
                  <a:pt x="721" y="878"/>
                  <a:pt x="1863" y="327"/>
                </a:cubicBezTo>
                <a:cubicBezTo>
                  <a:pt x="2992" y="-225"/>
                  <a:pt x="4330" y="-67"/>
                  <a:pt x="5327" y="720"/>
                </a:cubicBezTo>
                <a:lnTo>
                  <a:pt x="140103" y="108162"/>
                </a:lnTo>
                <a:cubicBezTo>
                  <a:pt x="140890" y="108793"/>
                  <a:pt x="141336" y="109724"/>
                  <a:pt x="141336" y="110734"/>
                </a:cubicBezTo>
                <a:cubicBezTo>
                  <a:pt x="141336" y="111732"/>
                  <a:pt x="140890" y="112677"/>
                  <a:pt x="140103" y="113293"/>
                </a:cubicBezTo>
                <a:lnTo>
                  <a:pt x="5327" y="220749"/>
                </a:lnTo>
                <a:cubicBezTo>
                  <a:pt x="4330" y="221523"/>
                  <a:pt x="2992" y="221681"/>
                  <a:pt x="1863" y="221130"/>
                </a:cubicBezTo>
                <a:cubicBezTo>
                  <a:pt x="721" y="220592"/>
                  <a:pt x="0" y="219437"/>
                  <a:pt x="0" y="218178"/>
                </a:cubicBezTo>
                <a:close/>
              </a:path>
            </a:pathLst>
          </a:custGeom>
          <a:solidFill>
            <a:schemeClr val="accent2"/>
          </a:solidFill>
          <a:ln w="6350">
            <a:noFill/>
          </a:ln>
        </p:spPr>
        <p:txBody>
          <a:bodyPr wrap="square">
            <a:noAutofit/>
          </a:bodyPr>
          <a:lstStyle>
            <a:lvl1pPr>
              <a:defRPr sz="133"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27" name="Espace réservé du texte 18">
            <a:extLst>
              <a:ext uri="{FF2B5EF4-FFF2-40B4-BE49-F238E27FC236}">
                <a16:creationId xmlns:a16="http://schemas.microsoft.com/office/drawing/2014/main" id="{CB7B9BBB-2B07-4086-9024-DEE22312457F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509757" y="2824117"/>
            <a:ext cx="1841497" cy="1073148"/>
          </a:xfrm>
          <a:custGeom>
            <a:avLst/>
            <a:gdLst>
              <a:gd name="connsiteX0" fmla="*/ 0 w 1744470"/>
              <a:gd name="connsiteY0" fmla="*/ 0 h 1095374"/>
              <a:gd name="connsiteX1" fmla="*/ 1744470 w 1744470"/>
              <a:gd name="connsiteY1" fmla="*/ 0 h 1095374"/>
              <a:gd name="connsiteX2" fmla="*/ 1744470 w 1744470"/>
              <a:gd name="connsiteY2" fmla="*/ 1095374 h 1095374"/>
              <a:gd name="connsiteX3" fmla="*/ 0 w 1744470"/>
              <a:gd name="connsiteY3" fmla="*/ 1095374 h 109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470" h="1095374">
                <a:moveTo>
                  <a:pt x="0" y="0"/>
                </a:moveTo>
                <a:lnTo>
                  <a:pt x="1744470" y="0"/>
                </a:lnTo>
                <a:lnTo>
                  <a:pt x="1744470" y="1095374"/>
                </a:lnTo>
                <a:lnTo>
                  <a:pt x="0" y="1095374"/>
                </a:lnTo>
                <a:close/>
              </a:path>
            </a:pathLst>
          </a:custGeom>
          <a:solidFill>
            <a:srgbClr val="F5F3F8"/>
          </a:solidFill>
        </p:spPr>
        <p:txBody>
          <a:bodyPr wrap="square" lIns="0" tIns="0" rIns="0" bIns="0" numCol="1" spcCol="108000" anchor="ctr" anchorCtr="0">
            <a:noAutofit/>
          </a:bodyPr>
          <a:lstStyle>
            <a:lvl1pPr algn="ctr">
              <a:lnSpc>
                <a:spcPct val="113000"/>
              </a:lnSpc>
              <a:defRPr sz="1200">
                <a:solidFill>
                  <a:schemeClr val="tx1"/>
                </a:solidFill>
              </a:defRPr>
            </a:lvl1pPr>
            <a:lvl2pPr algn="ctr">
              <a:lnSpc>
                <a:spcPct val="113000"/>
              </a:lnSpc>
              <a:buClr>
                <a:schemeClr val="accent1"/>
              </a:buClr>
              <a:defRPr sz="1200" b="1">
                <a:solidFill>
                  <a:schemeClr val="tx1"/>
                </a:solidFill>
              </a:defRPr>
            </a:lvl2pPr>
            <a:lvl3pPr>
              <a:lnSpc>
                <a:spcPct val="113000"/>
              </a:lnSpc>
              <a:defRPr sz="1000" b="1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13000"/>
              </a:lnSpc>
              <a:defRPr sz="1000"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 noProof="0" dirty="0"/>
              <a:t>Lorem ipsum dolor</a:t>
            </a:r>
          </a:p>
          <a:p>
            <a:pPr lvl="0"/>
            <a:r>
              <a:rPr lang="en-US" noProof="0" dirty="0"/>
              <a:t>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</a:t>
            </a:r>
            <a:r>
              <a:rPr lang="en-US" noProof="0" dirty="0"/>
              <a:t>-</a:t>
            </a:r>
          </a:p>
          <a:p>
            <a:pPr lvl="0"/>
            <a:r>
              <a:rPr lang="en-US" noProof="0" dirty="0" err="1"/>
              <a:t>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endParaRPr lang="en-US" noProof="0" dirty="0"/>
          </a:p>
          <a:p>
            <a:pPr lvl="1"/>
            <a:r>
              <a:rPr lang="en-US" noProof="0" dirty="0"/>
              <a:t>Et </a:t>
            </a:r>
            <a:r>
              <a:rPr lang="en-US" noProof="0" dirty="0" err="1"/>
              <a:t>fuga</a:t>
            </a:r>
            <a:endParaRPr lang="en-US" noProof="0" dirty="0"/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5C842C5C-9AC3-448B-960C-704DDA9F4EF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1589" y="1674843"/>
            <a:ext cx="2824073" cy="58477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BD41B43-AC57-4D2B-895A-D6C42B2C6DB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69084" y="2513023"/>
            <a:ext cx="2827447" cy="169533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41F219FC-0C17-41D8-A025-7B19D0B2C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670501"/>
            <a:ext cx="2827447" cy="8280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Espace réservé du texte 5">
            <a:extLst>
              <a:ext uri="{FF2B5EF4-FFF2-40B4-BE49-F238E27FC236}">
                <a16:creationId xmlns:a16="http://schemas.microsoft.com/office/drawing/2014/main" id="{F0A95EBF-507C-4A4F-B6AB-97F42EE2FA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256545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39" name="Graphique 7">
            <a:extLst>
              <a:ext uri="{FF2B5EF4-FFF2-40B4-BE49-F238E27FC236}">
                <a16:creationId xmlns:a16="http://schemas.microsoft.com/office/drawing/2014/main" id="{C27C04FF-DE6C-4072-8BF4-5EC4DDBD66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212E5D6A-36AC-4C11-B9FC-882015D3F3E8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D6348C0A-6CEA-4E8E-B679-84C9BC1345C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42" name="Forme libre : forme 11">
              <a:extLst>
                <a:ext uri="{FF2B5EF4-FFF2-40B4-BE49-F238E27FC236}">
                  <a16:creationId xmlns:a16="http://schemas.microsoft.com/office/drawing/2014/main" id="{3CB09C3A-78E1-4A35-9F27-91D8336A84C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06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BA057E7-5A0F-4AE0-9351-1A58DB294C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52851" y="1942729"/>
            <a:ext cx="3365500" cy="4295223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8</a:t>
            </a:r>
          </a:p>
          <a:p>
            <a:pPr lvl="2"/>
            <a:r>
              <a:rPr lang="en-US" noProof="0" dirty="0"/>
              <a:t>NAFLD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D1DC7E5E-9E41-496F-A46A-10D60378AF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39003" y="1942729"/>
            <a:ext cx="1657349" cy="2057772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Neurology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3CA8CA11-934D-49F7-A929-1D1F6E6171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95006" y="1942727"/>
            <a:ext cx="952020" cy="4295223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8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8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Rare diseas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2A95B96-5606-44FB-9A28-BF7F82AE0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39001" y="4124871"/>
            <a:ext cx="3435352" cy="1298029"/>
          </a:xfrm>
          <a:solidFill>
            <a:schemeClr val="accent5"/>
          </a:solidFill>
        </p:spPr>
        <p:txBody>
          <a:bodyPr bIns="108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8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</a:lstStyle>
          <a:p>
            <a:pPr lvl="0"/>
            <a:r>
              <a:rPr lang="en-US" noProof="0" dirty="0"/>
              <a:t>3</a:t>
            </a:r>
          </a:p>
          <a:p>
            <a:pPr lvl="1"/>
            <a:r>
              <a:rPr lang="en-US" noProof="0" dirty="0"/>
              <a:t>Rare blood disorder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63A6F80-C740-4630-B53A-0571C25D9B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39001" y="5547270"/>
            <a:ext cx="3435352" cy="675405"/>
          </a:xfrm>
          <a:solidFill>
            <a:schemeClr val="accent4"/>
          </a:solidFill>
        </p:spPr>
        <p:txBody>
          <a:bodyPr tIns="36000" bIns="36000" anchor="ctr">
            <a:noAutofit/>
          </a:bodyPr>
          <a:lstStyle>
            <a:lvl1pPr marL="0" indent="0" algn="ctr">
              <a:lnSpc>
                <a:spcPct val="75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8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1</a:t>
            </a:r>
          </a:p>
          <a:p>
            <a:pPr lvl="2"/>
            <a:r>
              <a:rPr lang="en-US" noProof="0" dirty="0" err="1"/>
              <a:t>Immunologie</a:t>
            </a:r>
            <a:endParaRPr lang="en-US" noProof="0" dirty="0"/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03CC539B-EFCF-4F4C-B1A5-A69F32F5CE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15363" y="1942729"/>
            <a:ext cx="1657349" cy="2057772"/>
          </a:xfrm>
          <a:solidFill>
            <a:schemeClr val="accent4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4267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4267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ctr"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Rare diseas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74F34E5-E51A-4313-AC90-F67C509F3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7" y="379770"/>
            <a:ext cx="11294059" cy="4585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3EF705-EFFB-4BD7-8595-42C8B7EFEF28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711235"/>
            <a:ext cx="2827447" cy="241624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509588" indent="-33972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914400" indent="-285750">
              <a:buFont typeface="Arial" panose="020B0604020202020204" pitchFamily="34" charset="0"/>
              <a:buChar char="•"/>
              <a:tabLst>
                <a:tab pos="1201738" algn="l"/>
              </a:tabLst>
              <a:defRPr>
                <a:solidFill>
                  <a:schemeClr val="tx1"/>
                </a:solidFill>
              </a:defRPr>
            </a:lvl3pPr>
            <a:lvl4pPr marL="1201738" indent="-2873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152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944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 dirty="0">
              <a:latin typeface="Verdana" panose="020B0604030504040204" pitchFamily="34" charset="0"/>
            </a:endParaRPr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874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10">
            <a:extLst>
              <a:ext uri="{FF2B5EF4-FFF2-40B4-BE49-F238E27FC236}">
                <a16:creationId xmlns:a16="http://schemas.microsoft.com/office/drawing/2014/main" id="{CDE3C905-9E7B-4D62-90F9-CA013945F90B}"/>
              </a:ext>
            </a:extLst>
          </p:cNvPr>
          <p:cNvSpPr/>
          <p:nvPr userDrawn="1"/>
        </p:nvSpPr>
        <p:spPr>
          <a:xfrm>
            <a:off x="-2" y="-21294"/>
            <a:ext cx="12192002" cy="6879294"/>
          </a:xfrm>
          <a:prstGeom prst="rect">
            <a:avLst/>
          </a:pr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s-E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 dirty="0">
              <a:latin typeface="Verdana" panose="020B0604030504040204" pitchFamily="34" charset="0"/>
            </a:endParaRPr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 dirty="0">
                <a:latin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998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F13216-8934-B04C-A269-3063566C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BCA72-126E-2448-B87C-AC843CA96BDE}" type="datetimeFigureOut">
              <a:rPr lang="ro-RO" smtClean="0"/>
              <a:t>14.09.2023</a:t>
            </a:fld>
            <a:endParaRPr lang="ro-R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A6A066-67FB-B740-B195-A1860BE9A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6BFA09-97B9-8B47-ADEE-3298F2FF0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47956-376D-A645-951C-FC6D21936721}" type="slidenum">
              <a:rPr lang="ro-RO" smtClean="0"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5797612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6EA51-B0E2-7549-93BA-FDA11FF55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47FE5F-F4C7-6943-A530-1F11EEC42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BCA72-126E-2448-B87C-AC843CA96BDE}" type="datetimeFigureOut">
              <a:rPr lang="ro-RO" smtClean="0"/>
              <a:t>14.09.2023</a:t>
            </a:fld>
            <a:endParaRPr lang="ro-R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0984D0-C679-0543-8BC0-38E73640CE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542FA3-3ABD-D947-95E8-6223AF74E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47956-376D-A645-951C-FC6D21936721}" type="slidenum">
              <a:rPr lang="ro-RO" smtClean="0"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7188083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840" y="1016000"/>
            <a:ext cx="1114622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B15218"/>
                </a:solidFill>
              </a:defRPr>
            </a:lvl1pPr>
            <a:lvl2pPr marL="457200" indent="0">
              <a:buNone/>
              <a:defRPr b="1">
                <a:solidFill>
                  <a:srgbClr val="B15218"/>
                </a:solidFill>
              </a:defRPr>
            </a:lvl2pPr>
            <a:lvl3pPr marL="914400" indent="0">
              <a:buNone/>
              <a:defRPr b="1">
                <a:solidFill>
                  <a:srgbClr val="B15218"/>
                </a:solidFill>
              </a:defRPr>
            </a:lvl3pPr>
            <a:lvl4pPr marL="1371600" indent="0">
              <a:buNone/>
              <a:defRPr b="1">
                <a:solidFill>
                  <a:srgbClr val="B15218"/>
                </a:solidFill>
              </a:defRPr>
            </a:lvl4pPr>
            <a:lvl5pPr marL="1828800" indent="0">
              <a:buNone/>
              <a:defRPr b="1">
                <a:solidFill>
                  <a:srgbClr val="B15218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9840" y="1844675"/>
            <a:ext cx="11146223" cy="374491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9840" y="5697538"/>
            <a:ext cx="6297998" cy="333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7636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325">
          <p15:clr>
            <a:srgbClr val="FBAE40"/>
          </p15:clr>
        </p15:guide>
        <p15:guide id="5" pos="7355">
          <p15:clr>
            <a:srgbClr val="FBAE40"/>
          </p15:clr>
        </p15:guide>
        <p15:guide id="6" orient="horz" pos="640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1162">
          <p15:clr>
            <a:srgbClr val="FBAE40"/>
          </p15:clr>
        </p15:guide>
        <p15:guide id="9" orient="horz" pos="352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840" y="1016000"/>
            <a:ext cx="1114622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B15218"/>
                </a:solidFill>
              </a:defRPr>
            </a:lvl1pPr>
            <a:lvl2pPr marL="457200" indent="0">
              <a:buNone/>
              <a:defRPr b="1">
                <a:solidFill>
                  <a:srgbClr val="B15218"/>
                </a:solidFill>
              </a:defRPr>
            </a:lvl2pPr>
            <a:lvl3pPr marL="914400" indent="0">
              <a:buNone/>
              <a:defRPr b="1">
                <a:solidFill>
                  <a:srgbClr val="B15218"/>
                </a:solidFill>
              </a:defRPr>
            </a:lvl3pPr>
            <a:lvl4pPr marL="1371600" indent="0">
              <a:buNone/>
              <a:defRPr b="1">
                <a:solidFill>
                  <a:srgbClr val="B15218"/>
                </a:solidFill>
              </a:defRPr>
            </a:lvl4pPr>
            <a:lvl5pPr marL="1828800" indent="0">
              <a:buNone/>
              <a:defRPr b="1">
                <a:solidFill>
                  <a:srgbClr val="B15218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9840" y="1844675"/>
            <a:ext cx="11146223" cy="374491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9840" y="5697538"/>
            <a:ext cx="6297998" cy="333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tx1"/>
                </a:solidFill>
              </a:defRPr>
            </a:lvl2pPr>
            <a:lvl3pPr marL="914400" indent="0">
              <a:buNone/>
              <a:defRPr sz="1000">
                <a:solidFill>
                  <a:schemeClr val="tx1"/>
                </a:solidFill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5FEC44-97F8-49F7-8AD5-AA1F5EFD8BC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316038" y="5907088"/>
            <a:ext cx="914400" cy="91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5109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325">
          <p15:clr>
            <a:srgbClr val="FBAE40"/>
          </p15:clr>
        </p15:guide>
        <p15:guide id="5" pos="7355">
          <p15:clr>
            <a:srgbClr val="FBAE40"/>
          </p15:clr>
        </p15:guide>
        <p15:guide id="6" orient="horz" pos="640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1162">
          <p15:clr>
            <a:srgbClr val="FBAE40"/>
          </p15:clr>
        </p15:guide>
        <p15:guide id="9" orient="horz" pos="352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72597-5FA9-473E-9DF2-B958DF9446F5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25159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">
          <p15:clr>
            <a:srgbClr val="FBAE40"/>
          </p15:clr>
        </p15:guide>
        <p15:guide id="2" pos="7477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877">
          <p15:clr>
            <a:srgbClr val="FBAE40"/>
          </p15:clr>
        </p15:guide>
        <p15:guide id="5" orient="horz" pos="360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Dark)">
    <p:bg>
      <p:bgPr>
        <a:solidFill>
          <a:srgbClr val="FFFFDE">
            <a:alpha val="7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8218888" y="598226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lang="en-US" sz="1600" b="0" i="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100" noProof="0">
                <a:solidFill>
                  <a:schemeClr val="lt1"/>
                </a:solidFill>
                <a:effectLst/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n-US" noProof="0" dirty="0"/>
              <a:t>    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 noProof="0" dirty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marL="0" indent="0" algn="ctr">
              <a:lnSpc>
                <a:spcPct val="96000"/>
              </a:lnSpc>
              <a:spcAft>
                <a:spcPts val="1333"/>
              </a:spcAft>
              <a:buNone/>
              <a:defRPr lang="fr-FR" sz="4000" b="0" i="0" kern="120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marL="0" indent="0" algn="ctr">
              <a:lnSpc>
                <a:spcPct val="96000"/>
              </a:lnSpc>
              <a:spcAft>
                <a:spcPts val="1333"/>
              </a:spcAft>
              <a:buNone/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marL="0" indent="0" algn="ctr">
              <a:lnSpc>
                <a:spcPct val="96000"/>
              </a:lnSpc>
              <a:spcAft>
                <a:spcPts val="1333"/>
              </a:spcAft>
              <a:buNone/>
              <a:defRPr lang="en-US" sz="1600" b="0" i="0" kern="12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 dirty="0"/>
              <a:t>Speaker position</a:t>
            </a:r>
          </a:p>
        </p:txBody>
      </p:sp>
      <p:grpSp>
        <p:nvGrpSpPr>
          <p:cNvPr id="31" name="Graphic 9">
            <a:extLst>
              <a:ext uri="{FF2B5EF4-FFF2-40B4-BE49-F238E27FC236}">
                <a16:creationId xmlns:a16="http://schemas.microsoft.com/office/drawing/2014/main" id="{D6A2EF48-4BDC-4FCD-BF90-C4DDD214653F}"/>
              </a:ext>
            </a:extLst>
          </p:cNvPr>
          <p:cNvGrpSpPr/>
          <p:nvPr userDrawn="1"/>
        </p:nvGrpSpPr>
        <p:grpSpPr>
          <a:xfrm>
            <a:off x="8690917" y="520073"/>
            <a:ext cx="1134683" cy="287664"/>
            <a:chOff x="11168862" y="6538265"/>
            <a:chExt cx="762585" cy="195902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9105CD9-C286-47A6-B7C6-9AE3398B3E36}"/>
                </a:ext>
              </a:extLst>
            </p:cNvPr>
            <p:cNvSpPr/>
            <p:nvPr/>
          </p:nvSpPr>
          <p:spPr>
            <a:xfrm>
              <a:off x="11314403" y="6590689"/>
              <a:ext cx="132150" cy="143465"/>
            </a:xfrm>
            <a:custGeom>
              <a:avLst/>
              <a:gdLst>
                <a:gd name="connsiteX0" fmla="*/ 125254 w 132150"/>
                <a:gd name="connsiteY0" fmla="*/ 10204 h 143465"/>
                <a:gd name="connsiteX1" fmla="*/ 70902 w 132150"/>
                <a:gd name="connsiteY1" fmla="*/ 0 h 143465"/>
                <a:gd name="connsiteX2" fmla="*/ 0 w 132150"/>
                <a:gd name="connsiteY2" fmla="*/ 71733 h 143465"/>
                <a:gd name="connsiteX3" fmla="*/ 70353 w 132150"/>
                <a:gd name="connsiteY3" fmla="*/ 143465 h 143465"/>
                <a:gd name="connsiteX4" fmla="*/ 125254 w 132150"/>
                <a:gd name="connsiteY4" fmla="*/ 132431 h 143465"/>
                <a:gd name="connsiteX5" fmla="*/ 132150 w 132150"/>
                <a:gd name="connsiteY5" fmla="*/ 121398 h 143465"/>
                <a:gd name="connsiteX6" fmla="*/ 132150 w 132150"/>
                <a:gd name="connsiteY6" fmla="*/ 21237 h 143465"/>
                <a:gd name="connsiteX7" fmla="*/ 125254 w 132150"/>
                <a:gd name="connsiteY7" fmla="*/ 10204 h 143465"/>
                <a:gd name="connsiteX8" fmla="*/ 96277 w 132150"/>
                <a:gd name="connsiteY8" fmla="*/ 100428 h 143465"/>
                <a:gd name="connsiteX9" fmla="*/ 89381 w 132150"/>
                <a:gd name="connsiteY9" fmla="*/ 107873 h 143465"/>
                <a:gd name="connsiteX10" fmla="*/ 70621 w 132150"/>
                <a:gd name="connsiteY10" fmla="*/ 110351 h 143465"/>
                <a:gd name="connsiteX11" fmla="*/ 36409 w 132150"/>
                <a:gd name="connsiteY11" fmla="*/ 71719 h 143465"/>
                <a:gd name="connsiteX12" fmla="*/ 70621 w 132150"/>
                <a:gd name="connsiteY12" fmla="*/ 33088 h 143465"/>
                <a:gd name="connsiteX13" fmla="*/ 89381 w 132150"/>
                <a:gd name="connsiteY13" fmla="*/ 35565 h 143465"/>
                <a:gd name="connsiteX14" fmla="*/ 96277 w 132150"/>
                <a:gd name="connsiteY14" fmla="*/ 43010 h 143465"/>
                <a:gd name="connsiteX15" fmla="*/ 96277 w 132150"/>
                <a:gd name="connsiteY15" fmla="*/ 100428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150" h="143465">
                  <a:moveTo>
                    <a:pt x="125254" y="10204"/>
                  </a:moveTo>
                  <a:cubicBezTo>
                    <a:pt x="107043" y="3307"/>
                    <a:pt x="89944" y="0"/>
                    <a:pt x="70902" y="0"/>
                  </a:cubicBezTo>
                  <a:cubicBezTo>
                    <a:pt x="29245" y="0"/>
                    <a:pt x="0" y="27866"/>
                    <a:pt x="0" y="71733"/>
                  </a:cubicBezTo>
                  <a:cubicBezTo>
                    <a:pt x="0" y="116149"/>
                    <a:pt x="25388" y="143465"/>
                    <a:pt x="70353" y="143465"/>
                  </a:cubicBezTo>
                  <a:cubicBezTo>
                    <a:pt x="88564" y="143465"/>
                    <a:pt x="106226" y="140426"/>
                    <a:pt x="125254" y="132431"/>
                  </a:cubicBezTo>
                  <a:cubicBezTo>
                    <a:pt x="129673" y="130503"/>
                    <a:pt x="132150" y="127464"/>
                    <a:pt x="132150" y="121398"/>
                  </a:cubicBezTo>
                  <a:lnTo>
                    <a:pt x="132150" y="21237"/>
                  </a:lnTo>
                  <a:cubicBezTo>
                    <a:pt x="132150" y="14890"/>
                    <a:pt x="129660" y="11864"/>
                    <a:pt x="125254" y="10204"/>
                  </a:cubicBezTo>
                  <a:close/>
                  <a:moveTo>
                    <a:pt x="96277" y="100428"/>
                  </a:moveTo>
                  <a:cubicBezTo>
                    <a:pt x="96277" y="104566"/>
                    <a:pt x="94068" y="106494"/>
                    <a:pt x="89381" y="107873"/>
                  </a:cubicBezTo>
                  <a:cubicBezTo>
                    <a:pt x="83315" y="109534"/>
                    <a:pt x="78066" y="110351"/>
                    <a:pt x="70621" y="110351"/>
                  </a:cubicBezTo>
                  <a:cubicBezTo>
                    <a:pt x="52959" y="110351"/>
                    <a:pt x="36409" y="99866"/>
                    <a:pt x="36409" y="71719"/>
                  </a:cubicBezTo>
                  <a:cubicBezTo>
                    <a:pt x="36409" y="43572"/>
                    <a:pt x="52959" y="33088"/>
                    <a:pt x="70621" y="33088"/>
                  </a:cubicBezTo>
                  <a:cubicBezTo>
                    <a:pt x="78066" y="33088"/>
                    <a:pt x="83315" y="33918"/>
                    <a:pt x="89381" y="35565"/>
                  </a:cubicBezTo>
                  <a:cubicBezTo>
                    <a:pt x="94068" y="36944"/>
                    <a:pt x="96277" y="38872"/>
                    <a:pt x="96277" y="43010"/>
                  </a:cubicBezTo>
                  <a:lnTo>
                    <a:pt x="96277" y="100428"/>
                  </a:ln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3D5DEF-9384-4CB1-B93C-BBE02C362510}"/>
                </a:ext>
              </a:extLst>
            </p:cNvPr>
            <p:cNvSpPr/>
            <p:nvPr/>
          </p:nvSpPr>
          <p:spPr>
            <a:xfrm>
              <a:off x="11170924" y="6589591"/>
              <a:ext cx="125254" cy="141804"/>
            </a:xfrm>
            <a:custGeom>
              <a:avLst/>
              <a:gdLst>
                <a:gd name="connsiteX0" fmla="*/ 36422 w 125254"/>
                <a:gd name="connsiteY0" fmla="*/ 47175 h 141804"/>
                <a:gd name="connsiteX1" fmla="*/ 59601 w 125254"/>
                <a:gd name="connsiteY1" fmla="*/ 33382 h 141804"/>
                <a:gd name="connsiteX2" fmla="*/ 101258 w 125254"/>
                <a:gd name="connsiteY2" fmla="*/ 45795 h 141804"/>
                <a:gd name="connsiteX3" fmla="*/ 105396 w 125254"/>
                <a:gd name="connsiteY3" fmla="*/ 46893 h 141804"/>
                <a:gd name="connsiteX4" fmla="*/ 111462 w 125254"/>
                <a:gd name="connsiteY4" fmla="*/ 43037 h 141804"/>
                <a:gd name="connsiteX5" fmla="*/ 120018 w 125254"/>
                <a:gd name="connsiteY5" fmla="*/ 24826 h 141804"/>
                <a:gd name="connsiteX6" fmla="*/ 121116 w 125254"/>
                <a:gd name="connsiteY6" fmla="*/ 20139 h 141804"/>
                <a:gd name="connsiteX7" fmla="*/ 117809 w 125254"/>
                <a:gd name="connsiteY7" fmla="*/ 14622 h 141804"/>
                <a:gd name="connsiteX8" fmla="*/ 60699 w 125254"/>
                <a:gd name="connsiteY8" fmla="*/ 0 h 141804"/>
                <a:gd name="connsiteX9" fmla="*/ 0 w 125254"/>
                <a:gd name="connsiteY9" fmla="*/ 49665 h 141804"/>
                <a:gd name="connsiteX10" fmla="*/ 88846 w 125254"/>
                <a:gd name="connsiteY10" fmla="*/ 126084 h 141804"/>
                <a:gd name="connsiteX11" fmla="*/ 87185 w 125254"/>
                <a:gd name="connsiteY11" fmla="*/ 136288 h 141804"/>
                <a:gd name="connsiteX12" fmla="*/ 86904 w 125254"/>
                <a:gd name="connsiteY12" fmla="*/ 137948 h 141804"/>
                <a:gd name="connsiteX13" fmla="*/ 91042 w 125254"/>
                <a:gd name="connsiteY13" fmla="*/ 141805 h 141804"/>
                <a:gd name="connsiteX14" fmla="*/ 115867 w 125254"/>
                <a:gd name="connsiteY14" fmla="*/ 141805 h 141804"/>
                <a:gd name="connsiteX15" fmla="*/ 123045 w 125254"/>
                <a:gd name="connsiteY15" fmla="*/ 136288 h 141804"/>
                <a:gd name="connsiteX16" fmla="*/ 125254 w 125254"/>
                <a:gd name="connsiteY16" fmla="*/ 120568 h 141804"/>
                <a:gd name="connsiteX17" fmla="*/ 36422 w 125254"/>
                <a:gd name="connsiteY17" fmla="*/ 47175 h 14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254" h="141804">
                  <a:moveTo>
                    <a:pt x="36422" y="47175"/>
                  </a:moveTo>
                  <a:cubicBezTo>
                    <a:pt x="36422" y="38725"/>
                    <a:pt x="44978" y="33382"/>
                    <a:pt x="59601" y="33382"/>
                  </a:cubicBezTo>
                  <a:cubicBezTo>
                    <a:pt x="73674" y="33382"/>
                    <a:pt x="87185" y="38069"/>
                    <a:pt x="101258" y="45795"/>
                  </a:cubicBezTo>
                  <a:cubicBezTo>
                    <a:pt x="102638" y="46626"/>
                    <a:pt x="104017" y="46893"/>
                    <a:pt x="105396" y="46893"/>
                  </a:cubicBezTo>
                  <a:cubicBezTo>
                    <a:pt x="107873" y="46893"/>
                    <a:pt x="110243" y="45313"/>
                    <a:pt x="111462" y="43037"/>
                  </a:cubicBezTo>
                  <a:lnTo>
                    <a:pt x="120018" y="24826"/>
                  </a:lnTo>
                  <a:cubicBezTo>
                    <a:pt x="120808" y="23125"/>
                    <a:pt x="121116" y="21518"/>
                    <a:pt x="121116" y="20139"/>
                  </a:cubicBezTo>
                  <a:cubicBezTo>
                    <a:pt x="121116" y="17930"/>
                    <a:pt x="119965" y="15881"/>
                    <a:pt x="117809" y="14622"/>
                  </a:cubicBezTo>
                  <a:cubicBezTo>
                    <a:pt x="100709" y="4687"/>
                    <a:pt x="80289" y="0"/>
                    <a:pt x="60699" y="0"/>
                  </a:cubicBezTo>
                  <a:cubicBezTo>
                    <a:pt x="23728" y="0"/>
                    <a:pt x="0" y="19871"/>
                    <a:pt x="0" y="49665"/>
                  </a:cubicBezTo>
                  <a:cubicBezTo>
                    <a:pt x="0" y="108155"/>
                    <a:pt x="88846" y="85511"/>
                    <a:pt x="88846" y="126084"/>
                  </a:cubicBezTo>
                  <a:cubicBezTo>
                    <a:pt x="88846" y="130222"/>
                    <a:pt x="88297" y="132699"/>
                    <a:pt x="87185" y="136288"/>
                  </a:cubicBezTo>
                  <a:cubicBezTo>
                    <a:pt x="87024" y="136824"/>
                    <a:pt x="86904" y="137386"/>
                    <a:pt x="86904" y="137948"/>
                  </a:cubicBezTo>
                  <a:cubicBezTo>
                    <a:pt x="86904" y="140158"/>
                    <a:pt x="88283" y="141805"/>
                    <a:pt x="91042" y="141805"/>
                  </a:cubicBezTo>
                  <a:lnTo>
                    <a:pt x="115867" y="141805"/>
                  </a:lnTo>
                  <a:cubicBezTo>
                    <a:pt x="120005" y="141805"/>
                    <a:pt x="121665" y="140426"/>
                    <a:pt x="123045" y="136288"/>
                  </a:cubicBezTo>
                  <a:cubicBezTo>
                    <a:pt x="124705" y="131601"/>
                    <a:pt x="125254" y="125254"/>
                    <a:pt x="125254" y="120568"/>
                  </a:cubicBezTo>
                  <a:cubicBezTo>
                    <a:pt x="125254" y="57927"/>
                    <a:pt x="36422" y="73005"/>
                    <a:pt x="36422" y="47175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C0AAC82-3DA3-4FF5-8BC3-060D7B50DE17}"/>
                </a:ext>
              </a:extLst>
            </p:cNvPr>
            <p:cNvSpPr/>
            <p:nvPr/>
          </p:nvSpPr>
          <p:spPr>
            <a:xfrm>
              <a:off x="11480216" y="6590689"/>
              <a:ext cx="125535" cy="140706"/>
            </a:xfrm>
            <a:custGeom>
              <a:avLst/>
              <a:gdLst>
                <a:gd name="connsiteX0" fmla="*/ 62346 w 125535"/>
                <a:gd name="connsiteY0" fmla="*/ 0 h 140706"/>
                <a:gd name="connsiteX1" fmla="*/ 6896 w 125535"/>
                <a:gd name="connsiteY1" fmla="*/ 9936 h 140706"/>
                <a:gd name="connsiteX2" fmla="*/ 0 w 125535"/>
                <a:gd name="connsiteY2" fmla="*/ 20969 h 140706"/>
                <a:gd name="connsiteX3" fmla="*/ 0 w 125535"/>
                <a:gd name="connsiteY3" fmla="*/ 135190 h 140706"/>
                <a:gd name="connsiteX4" fmla="*/ 5517 w 125535"/>
                <a:gd name="connsiteY4" fmla="*/ 140707 h 140706"/>
                <a:gd name="connsiteX5" fmla="*/ 30343 w 125535"/>
                <a:gd name="connsiteY5" fmla="*/ 140707 h 140706"/>
                <a:gd name="connsiteX6" fmla="*/ 35860 w 125535"/>
                <a:gd name="connsiteY6" fmla="*/ 135190 h 140706"/>
                <a:gd name="connsiteX7" fmla="*/ 35860 w 125535"/>
                <a:gd name="connsiteY7" fmla="*/ 42488 h 140706"/>
                <a:gd name="connsiteX8" fmla="*/ 42488 w 125535"/>
                <a:gd name="connsiteY8" fmla="*/ 35311 h 140706"/>
                <a:gd name="connsiteX9" fmla="*/ 62908 w 125535"/>
                <a:gd name="connsiteY9" fmla="*/ 33101 h 140706"/>
                <a:gd name="connsiteX10" fmla="*/ 89676 w 125535"/>
                <a:gd name="connsiteY10" fmla="*/ 56548 h 140706"/>
                <a:gd name="connsiteX11" fmla="*/ 89676 w 125535"/>
                <a:gd name="connsiteY11" fmla="*/ 135177 h 140706"/>
                <a:gd name="connsiteX12" fmla="*/ 95193 w 125535"/>
                <a:gd name="connsiteY12" fmla="*/ 140693 h 140706"/>
                <a:gd name="connsiteX13" fmla="*/ 120018 w 125535"/>
                <a:gd name="connsiteY13" fmla="*/ 140693 h 140706"/>
                <a:gd name="connsiteX14" fmla="*/ 125535 w 125535"/>
                <a:gd name="connsiteY14" fmla="*/ 135177 h 140706"/>
                <a:gd name="connsiteX15" fmla="*/ 125535 w 125535"/>
                <a:gd name="connsiteY15" fmla="*/ 51861 h 140706"/>
                <a:gd name="connsiteX16" fmla="*/ 62346 w 125535"/>
                <a:gd name="connsiteY16" fmla="*/ 0 h 14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535" h="140706">
                  <a:moveTo>
                    <a:pt x="62346" y="0"/>
                  </a:moveTo>
                  <a:cubicBezTo>
                    <a:pt x="46063" y="0"/>
                    <a:pt x="27035" y="2758"/>
                    <a:pt x="6896" y="9936"/>
                  </a:cubicBezTo>
                  <a:cubicBezTo>
                    <a:pt x="3040" y="11315"/>
                    <a:pt x="0" y="14622"/>
                    <a:pt x="0" y="20969"/>
                  </a:cubicBezTo>
                  <a:lnTo>
                    <a:pt x="0" y="135190"/>
                  </a:lnTo>
                  <a:cubicBezTo>
                    <a:pt x="0" y="138497"/>
                    <a:pt x="2209" y="140707"/>
                    <a:pt x="5517" y="140707"/>
                  </a:cubicBezTo>
                  <a:lnTo>
                    <a:pt x="30343" y="140707"/>
                  </a:lnTo>
                  <a:cubicBezTo>
                    <a:pt x="33650" y="140707"/>
                    <a:pt x="35860" y="138497"/>
                    <a:pt x="35860" y="135190"/>
                  </a:cubicBezTo>
                  <a:lnTo>
                    <a:pt x="35860" y="42488"/>
                  </a:lnTo>
                  <a:cubicBezTo>
                    <a:pt x="35860" y="38350"/>
                    <a:pt x="38069" y="36422"/>
                    <a:pt x="42488" y="35311"/>
                  </a:cubicBezTo>
                  <a:cubicBezTo>
                    <a:pt x="49665" y="33650"/>
                    <a:pt x="54352" y="33101"/>
                    <a:pt x="62908" y="33101"/>
                  </a:cubicBezTo>
                  <a:cubicBezTo>
                    <a:pt x="77812" y="33101"/>
                    <a:pt x="89676" y="39997"/>
                    <a:pt x="89676" y="56548"/>
                  </a:cubicBezTo>
                  <a:lnTo>
                    <a:pt x="89676" y="135177"/>
                  </a:lnTo>
                  <a:cubicBezTo>
                    <a:pt x="89676" y="138484"/>
                    <a:pt x="91885" y="140693"/>
                    <a:pt x="95193" y="140693"/>
                  </a:cubicBezTo>
                  <a:lnTo>
                    <a:pt x="120018" y="140693"/>
                  </a:lnTo>
                  <a:cubicBezTo>
                    <a:pt x="123326" y="140693"/>
                    <a:pt x="125535" y="138484"/>
                    <a:pt x="125535" y="135177"/>
                  </a:cubicBezTo>
                  <a:lnTo>
                    <a:pt x="125535" y="51861"/>
                  </a:lnTo>
                  <a:cubicBezTo>
                    <a:pt x="125522" y="18211"/>
                    <a:pt x="104834" y="0"/>
                    <a:pt x="62346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D355D2C-5660-44E3-AA3E-1A116FB62807}"/>
                </a:ext>
              </a:extLst>
            </p:cNvPr>
            <p:cNvSpPr/>
            <p:nvPr/>
          </p:nvSpPr>
          <p:spPr>
            <a:xfrm>
              <a:off x="11632225" y="6590689"/>
              <a:ext cx="138778" cy="143465"/>
            </a:xfrm>
            <a:custGeom>
              <a:avLst/>
              <a:gdLst>
                <a:gd name="connsiteX0" fmla="*/ 68425 w 138778"/>
                <a:gd name="connsiteY0" fmla="*/ 0 h 143465"/>
                <a:gd name="connsiteX1" fmla="*/ 0 w 138778"/>
                <a:gd name="connsiteY1" fmla="*/ 71733 h 143465"/>
                <a:gd name="connsiteX2" fmla="*/ 70353 w 138778"/>
                <a:gd name="connsiteY2" fmla="*/ 143465 h 143465"/>
                <a:gd name="connsiteX3" fmla="*/ 138778 w 138778"/>
                <a:gd name="connsiteY3" fmla="*/ 71733 h 143465"/>
                <a:gd name="connsiteX4" fmla="*/ 68425 w 138778"/>
                <a:gd name="connsiteY4" fmla="*/ 0 h 143465"/>
                <a:gd name="connsiteX5" fmla="*/ 70367 w 138778"/>
                <a:gd name="connsiteY5" fmla="*/ 110351 h 143465"/>
                <a:gd name="connsiteX6" fmla="*/ 36435 w 138778"/>
                <a:gd name="connsiteY6" fmla="*/ 71719 h 143465"/>
                <a:gd name="connsiteX7" fmla="*/ 68438 w 138778"/>
                <a:gd name="connsiteY7" fmla="*/ 33088 h 143465"/>
                <a:gd name="connsiteX8" fmla="*/ 102370 w 138778"/>
                <a:gd name="connsiteY8" fmla="*/ 71719 h 143465"/>
                <a:gd name="connsiteX9" fmla="*/ 70367 w 138778"/>
                <a:gd name="connsiteY9" fmla="*/ 110351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778" h="143465">
                  <a:moveTo>
                    <a:pt x="68425" y="0"/>
                  </a:moveTo>
                  <a:cubicBezTo>
                    <a:pt x="27035" y="0"/>
                    <a:pt x="0" y="30075"/>
                    <a:pt x="0" y="71733"/>
                  </a:cubicBezTo>
                  <a:cubicBezTo>
                    <a:pt x="0" y="113390"/>
                    <a:pt x="27035" y="143465"/>
                    <a:pt x="70353" y="143465"/>
                  </a:cubicBezTo>
                  <a:cubicBezTo>
                    <a:pt x="111743" y="143465"/>
                    <a:pt x="138778" y="113390"/>
                    <a:pt x="138778" y="71733"/>
                  </a:cubicBezTo>
                  <a:cubicBezTo>
                    <a:pt x="138778" y="30075"/>
                    <a:pt x="111743" y="0"/>
                    <a:pt x="68425" y="0"/>
                  </a:cubicBezTo>
                  <a:close/>
                  <a:moveTo>
                    <a:pt x="70367" y="110351"/>
                  </a:moveTo>
                  <a:cubicBezTo>
                    <a:pt x="49946" y="110351"/>
                    <a:pt x="36435" y="97107"/>
                    <a:pt x="36435" y="71719"/>
                  </a:cubicBezTo>
                  <a:cubicBezTo>
                    <a:pt x="36435" y="46331"/>
                    <a:pt x="49960" y="33088"/>
                    <a:pt x="68438" y="33088"/>
                  </a:cubicBezTo>
                  <a:cubicBezTo>
                    <a:pt x="88859" y="33088"/>
                    <a:pt x="102370" y="46331"/>
                    <a:pt x="102370" y="71719"/>
                  </a:cubicBezTo>
                  <a:cubicBezTo>
                    <a:pt x="102370" y="97107"/>
                    <a:pt x="88845" y="110351"/>
                    <a:pt x="70367" y="110351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079DE94-FF16-4B11-9E42-6814046E01A3}"/>
                </a:ext>
              </a:extLst>
            </p:cNvPr>
            <p:cNvSpPr/>
            <p:nvPr/>
          </p:nvSpPr>
          <p:spPr>
            <a:xfrm>
              <a:off x="11894342" y="6593447"/>
              <a:ext cx="35859" cy="137948"/>
            </a:xfrm>
            <a:custGeom>
              <a:avLst/>
              <a:gdLst>
                <a:gd name="connsiteX0" fmla="*/ 30343 w 35859"/>
                <a:gd name="connsiteY0" fmla="*/ 0 h 137948"/>
                <a:gd name="connsiteX1" fmla="*/ 5517 w 35859"/>
                <a:gd name="connsiteY1" fmla="*/ 0 h 137948"/>
                <a:gd name="connsiteX2" fmla="*/ 0 w 35859"/>
                <a:gd name="connsiteY2" fmla="*/ 5517 h 137948"/>
                <a:gd name="connsiteX3" fmla="*/ 0 w 35859"/>
                <a:gd name="connsiteY3" fmla="*/ 132431 h 137948"/>
                <a:gd name="connsiteX4" fmla="*/ 5517 w 35859"/>
                <a:gd name="connsiteY4" fmla="*/ 137948 h 137948"/>
                <a:gd name="connsiteX5" fmla="*/ 30343 w 35859"/>
                <a:gd name="connsiteY5" fmla="*/ 137948 h 137948"/>
                <a:gd name="connsiteX6" fmla="*/ 35860 w 35859"/>
                <a:gd name="connsiteY6" fmla="*/ 132431 h 137948"/>
                <a:gd name="connsiteX7" fmla="*/ 35860 w 35859"/>
                <a:gd name="connsiteY7" fmla="*/ 5517 h 137948"/>
                <a:gd name="connsiteX8" fmla="*/ 30343 w 35859"/>
                <a:gd name="connsiteY8" fmla="*/ 0 h 137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859" h="137948">
                  <a:moveTo>
                    <a:pt x="30343" y="0"/>
                  </a:moveTo>
                  <a:lnTo>
                    <a:pt x="5517" y="0"/>
                  </a:lnTo>
                  <a:cubicBezTo>
                    <a:pt x="2209" y="0"/>
                    <a:pt x="0" y="2209"/>
                    <a:pt x="0" y="5517"/>
                  </a:cubicBezTo>
                  <a:lnTo>
                    <a:pt x="0" y="132431"/>
                  </a:lnTo>
                  <a:cubicBezTo>
                    <a:pt x="0" y="135739"/>
                    <a:pt x="2209" y="137948"/>
                    <a:pt x="5517" y="137948"/>
                  </a:cubicBezTo>
                  <a:lnTo>
                    <a:pt x="30343" y="137948"/>
                  </a:lnTo>
                  <a:cubicBezTo>
                    <a:pt x="33650" y="137948"/>
                    <a:pt x="35860" y="135739"/>
                    <a:pt x="35860" y="132431"/>
                  </a:cubicBezTo>
                  <a:lnTo>
                    <a:pt x="35860" y="5517"/>
                  </a:lnTo>
                  <a:cubicBezTo>
                    <a:pt x="35860" y="2209"/>
                    <a:pt x="33650" y="0"/>
                    <a:pt x="30343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1CDD8A3-FB70-42DA-B29C-198D62576865}"/>
                </a:ext>
              </a:extLst>
            </p:cNvPr>
            <p:cNvSpPr/>
            <p:nvPr/>
          </p:nvSpPr>
          <p:spPr>
            <a:xfrm>
              <a:off x="11797770" y="6538265"/>
              <a:ext cx="79458" cy="193130"/>
            </a:xfrm>
            <a:custGeom>
              <a:avLst/>
              <a:gdLst>
                <a:gd name="connsiteX0" fmla="*/ 73942 w 79458"/>
                <a:gd name="connsiteY0" fmla="*/ 1928 h 193130"/>
                <a:gd name="connsiteX1" fmla="*/ 56561 w 79458"/>
                <a:gd name="connsiteY1" fmla="*/ 0 h 193130"/>
                <a:gd name="connsiteX2" fmla="*/ 0 w 79458"/>
                <a:gd name="connsiteY2" fmla="*/ 57940 h 193130"/>
                <a:gd name="connsiteX3" fmla="*/ 0 w 79458"/>
                <a:gd name="connsiteY3" fmla="*/ 187613 h 193130"/>
                <a:gd name="connsiteX4" fmla="*/ 5517 w 79458"/>
                <a:gd name="connsiteY4" fmla="*/ 193130 h 193130"/>
                <a:gd name="connsiteX5" fmla="*/ 30075 w 79458"/>
                <a:gd name="connsiteY5" fmla="*/ 193130 h 193130"/>
                <a:gd name="connsiteX6" fmla="*/ 35592 w 79458"/>
                <a:gd name="connsiteY6" fmla="*/ 187613 h 193130"/>
                <a:gd name="connsiteX7" fmla="*/ 35592 w 79458"/>
                <a:gd name="connsiteY7" fmla="*/ 85525 h 193130"/>
                <a:gd name="connsiteX8" fmla="*/ 70635 w 79458"/>
                <a:gd name="connsiteY8" fmla="*/ 85525 h 193130"/>
                <a:gd name="connsiteX9" fmla="*/ 76151 w 79458"/>
                <a:gd name="connsiteY9" fmla="*/ 80008 h 193130"/>
                <a:gd name="connsiteX10" fmla="*/ 76151 w 79458"/>
                <a:gd name="connsiteY10" fmla="*/ 60967 h 193130"/>
                <a:gd name="connsiteX11" fmla="*/ 70635 w 79458"/>
                <a:gd name="connsiteY11" fmla="*/ 55169 h 193130"/>
                <a:gd name="connsiteX12" fmla="*/ 35592 w 79458"/>
                <a:gd name="connsiteY12" fmla="*/ 55169 h 193130"/>
                <a:gd name="connsiteX13" fmla="*/ 35592 w 79458"/>
                <a:gd name="connsiteY13" fmla="*/ 52129 h 193130"/>
                <a:gd name="connsiteX14" fmla="*/ 57391 w 79458"/>
                <a:gd name="connsiteY14" fmla="*/ 29231 h 193130"/>
                <a:gd name="connsiteX15" fmla="*/ 70916 w 79458"/>
                <a:gd name="connsiteY15" fmla="*/ 30611 h 193130"/>
                <a:gd name="connsiteX16" fmla="*/ 76151 w 79458"/>
                <a:gd name="connsiteY16" fmla="*/ 25375 h 193130"/>
                <a:gd name="connsiteX17" fmla="*/ 78910 w 79458"/>
                <a:gd name="connsiteY17" fmla="*/ 11034 h 193130"/>
                <a:gd name="connsiteX18" fmla="*/ 79459 w 79458"/>
                <a:gd name="connsiteY18" fmla="*/ 7445 h 193130"/>
                <a:gd name="connsiteX19" fmla="*/ 73942 w 79458"/>
                <a:gd name="connsiteY19" fmla="*/ 1928 h 19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9458" h="193130">
                  <a:moveTo>
                    <a:pt x="73942" y="1928"/>
                  </a:moveTo>
                  <a:cubicBezTo>
                    <a:pt x="68425" y="549"/>
                    <a:pt x="62440" y="0"/>
                    <a:pt x="56561" y="0"/>
                  </a:cubicBezTo>
                  <a:cubicBezTo>
                    <a:pt x="22349" y="0"/>
                    <a:pt x="0" y="18211"/>
                    <a:pt x="0" y="57940"/>
                  </a:cubicBezTo>
                  <a:lnTo>
                    <a:pt x="0" y="187613"/>
                  </a:lnTo>
                  <a:cubicBezTo>
                    <a:pt x="0" y="190921"/>
                    <a:pt x="2209" y="193130"/>
                    <a:pt x="5517" y="193130"/>
                  </a:cubicBezTo>
                  <a:lnTo>
                    <a:pt x="30075" y="193130"/>
                  </a:lnTo>
                  <a:cubicBezTo>
                    <a:pt x="33382" y="193130"/>
                    <a:pt x="35592" y="190921"/>
                    <a:pt x="35592" y="187613"/>
                  </a:cubicBezTo>
                  <a:lnTo>
                    <a:pt x="35592" y="85525"/>
                  </a:lnTo>
                  <a:lnTo>
                    <a:pt x="70635" y="85525"/>
                  </a:lnTo>
                  <a:cubicBezTo>
                    <a:pt x="74223" y="85525"/>
                    <a:pt x="76151" y="83315"/>
                    <a:pt x="76151" y="80008"/>
                  </a:cubicBezTo>
                  <a:lnTo>
                    <a:pt x="76151" y="60967"/>
                  </a:lnTo>
                  <a:cubicBezTo>
                    <a:pt x="76151" y="57378"/>
                    <a:pt x="74223" y="55169"/>
                    <a:pt x="70635" y="55169"/>
                  </a:cubicBezTo>
                  <a:lnTo>
                    <a:pt x="35592" y="55169"/>
                  </a:lnTo>
                  <a:lnTo>
                    <a:pt x="35592" y="52129"/>
                  </a:lnTo>
                  <a:cubicBezTo>
                    <a:pt x="35592" y="36958"/>
                    <a:pt x="42207" y="29231"/>
                    <a:pt x="57391" y="29231"/>
                  </a:cubicBezTo>
                  <a:cubicBezTo>
                    <a:pt x="62908" y="29231"/>
                    <a:pt x="68854" y="30611"/>
                    <a:pt x="70916" y="30611"/>
                  </a:cubicBezTo>
                  <a:cubicBezTo>
                    <a:pt x="74223" y="30611"/>
                    <a:pt x="75602" y="28682"/>
                    <a:pt x="76151" y="25375"/>
                  </a:cubicBezTo>
                  <a:lnTo>
                    <a:pt x="78910" y="11034"/>
                  </a:lnTo>
                  <a:cubicBezTo>
                    <a:pt x="79151" y="9762"/>
                    <a:pt x="79459" y="8637"/>
                    <a:pt x="79459" y="7445"/>
                  </a:cubicBezTo>
                  <a:cubicBezTo>
                    <a:pt x="79459" y="4379"/>
                    <a:pt x="77798" y="2758"/>
                    <a:pt x="73942" y="1928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15F2E8-A057-4665-88B9-73ADCD42F62E}"/>
                </a:ext>
              </a:extLst>
            </p:cNvPr>
            <p:cNvSpPr/>
            <p:nvPr/>
          </p:nvSpPr>
          <p:spPr>
            <a:xfrm>
              <a:off x="11168862" y="6696085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D113B98-8728-42F9-BDE9-29F7E37F4A9E}"/>
                </a:ext>
              </a:extLst>
            </p:cNvPr>
            <p:cNvSpPr/>
            <p:nvPr/>
          </p:nvSpPr>
          <p:spPr>
            <a:xfrm>
              <a:off x="11893097" y="6538319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E52A5A3-0D58-459B-AF9C-5143C94CF0FE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602DC695-7309-4A47-98FE-81FD4539FFA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84" name="Hexagon 83">
                <a:extLst>
                  <a:ext uri="{FF2B5EF4-FFF2-40B4-BE49-F238E27FC236}">
                    <a16:creationId xmlns:a16="http://schemas.microsoft.com/office/drawing/2014/main" id="{BF6188DC-31CD-4A1D-98C3-8CC0F80AB648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Hexagon 84">
                <a:extLst>
                  <a:ext uri="{FF2B5EF4-FFF2-40B4-BE49-F238E27FC236}">
                    <a16:creationId xmlns:a16="http://schemas.microsoft.com/office/drawing/2014/main" id="{271DD0FB-614F-4A3A-82CC-74A2AB4DE04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EF55DDAA-87F1-430E-9736-29055C4DB3D5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81" name="Hexagon 80">
                <a:extLst>
                  <a:ext uri="{FF2B5EF4-FFF2-40B4-BE49-F238E27FC236}">
                    <a16:creationId xmlns:a16="http://schemas.microsoft.com/office/drawing/2014/main" id="{30BCA6ED-E3CE-4CD2-B85E-E2FB1682F95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Hexagon 81">
                <a:extLst>
                  <a:ext uri="{FF2B5EF4-FFF2-40B4-BE49-F238E27FC236}">
                    <a16:creationId xmlns:a16="http://schemas.microsoft.com/office/drawing/2014/main" id="{F4FF9441-132F-44AE-80D5-841E21CA2A2D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Hexagon 82">
                <a:extLst>
                  <a:ext uri="{FF2B5EF4-FFF2-40B4-BE49-F238E27FC236}">
                    <a16:creationId xmlns:a16="http://schemas.microsoft.com/office/drawing/2014/main" id="{A8CC9CD5-B7C5-4011-84DE-E1710CCEAADA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526118-4DCF-4A66-A5D6-A5D1E9ECC4A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79" name="Hexagon 78">
                <a:extLst>
                  <a:ext uri="{FF2B5EF4-FFF2-40B4-BE49-F238E27FC236}">
                    <a16:creationId xmlns:a16="http://schemas.microsoft.com/office/drawing/2014/main" id="{84E93D76-3A69-460E-9754-E58A62A9CAD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Hexagon 79">
                <a:extLst>
                  <a:ext uri="{FF2B5EF4-FFF2-40B4-BE49-F238E27FC236}">
                    <a16:creationId xmlns:a16="http://schemas.microsoft.com/office/drawing/2014/main" id="{5F3776F0-3522-4C4A-BE7E-0396B95EF97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07C049E8-4CB3-4438-8C9A-BA4B8D478CF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76" name="Hexagon 75">
                <a:extLst>
                  <a:ext uri="{FF2B5EF4-FFF2-40B4-BE49-F238E27FC236}">
                    <a16:creationId xmlns:a16="http://schemas.microsoft.com/office/drawing/2014/main" id="{4A80CD6C-09C8-4FC1-836C-D6E6C4398A9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Hexagon 76">
                <a:extLst>
                  <a:ext uri="{FF2B5EF4-FFF2-40B4-BE49-F238E27FC236}">
                    <a16:creationId xmlns:a16="http://schemas.microsoft.com/office/drawing/2014/main" id="{B2903B3C-F985-44DC-8CC9-286E34CBB740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Hexagon 77">
                <a:extLst>
                  <a:ext uri="{FF2B5EF4-FFF2-40B4-BE49-F238E27FC236}">
                    <a16:creationId xmlns:a16="http://schemas.microsoft.com/office/drawing/2014/main" id="{77763591-5BBE-4544-A64B-3650D62456CF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9" name="Hexagon 68">
              <a:extLst>
                <a:ext uri="{FF2B5EF4-FFF2-40B4-BE49-F238E27FC236}">
                  <a16:creationId xmlns:a16="http://schemas.microsoft.com/office/drawing/2014/main" id="{C6B80AC6-7D7C-4F20-8D37-2DF7CFDB5D7F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70" name="Hexagon 69">
              <a:extLst>
                <a:ext uri="{FF2B5EF4-FFF2-40B4-BE49-F238E27FC236}">
                  <a16:creationId xmlns:a16="http://schemas.microsoft.com/office/drawing/2014/main" id="{6503B387-62E2-4486-9383-7A5FEF58E32C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71" name="Hexagon 70">
              <a:extLst>
                <a:ext uri="{FF2B5EF4-FFF2-40B4-BE49-F238E27FC236}">
                  <a16:creationId xmlns:a16="http://schemas.microsoft.com/office/drawing/2014/main" id="{2E9DE235-5D29-4EDC-8D73-3E81217BC80B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8F8A40BF-8534-4ACF-A8B4-8AC8B3168101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73" name="Hexagon 72">
                <a:extLst>
                  <a:ext uri="{FF2B5EF4-FFF2-40B4-BE49-F238E27FC236}">
                    <a16:creationId xmlns:a16="http://schemas.microsoft.com/office/drawing/2014/main" id="{EA6C441D-73C4-4371-8CFC-5071268A6CF6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4" name="Hexagon 73">
                <a:extLst>
                  <a:ext uri="{FF2B5EF4-FFF2-40B4-BE49-F238E27FC236}">
                    <a16:creationId xmlns:a16="http://schemas.microsoft.com/office/drawing/2014/main" id="{3FECAC88-60E3-48B9-8D1B-E5D50937E6A3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Hexagon 74">
                <a:extLst>
                  <a:ext uri="{FF2B5EF4-FFF2-40B4-BE49-F238E27FC236}">
                    <a16:creationId xmlns:a16="http://schemas.microsoft.com/office/drawing/2014/main" id="{76D48B00-0B10-4A75-8F8C-0C0DCF2EA3A5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08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(Light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3200" b="1" noProof="0" dirty="0">
                <a:solidFill>
                  <a:schemeClr val="bg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97872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3200" b="1" i="0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1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0" kern="1200" cap="all" baseline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646EA-2112-4FAC-90E5-876DA30139DA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7DD4B8D-0FA8-47AF-8E58-B6C62412D88E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218969D8-5B7A-417D-B458-0169F165965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563ED592-40D2-49B2-8E0C-C31A349B62E5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194C964-7BB9-421A-8985-ACCB111295A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05404933-EDF6-405F-8673-A8B0E5107942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E923C1B3-EEF8-4BCB-BBC3-39723ED9839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BE0E7DA2-BDEC-4228-B4D7-A696E2F2D6C6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AFBE25-FD08-489E-850E-08D10039E53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B7F1EA3E-093A-46CA-B7D8-F5B22B8F473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4553F9A5-F8A1-4F90-B92C-C431B09BE604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EF546C-EB14-4F34-A0F0-8C0001D84D7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F89C0DA2-B59F-4CE5-B4EB-AF51D8E02C83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1AFAF745-63C0-4E7A-BAB3-D369C4EDA0BF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5ADF8620-FB6B-4E4E-B10D-C884BB9981B0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8DE0E31C-D2A1-4AE2-8C65-9D86CB64099E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F6E66543-282F-4069-8C66-5B779106002E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6D8185E-00B1-466C-B5BB-A8F1B4543B88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AC720C-05D9-4B56-9AF0-EEA7B2419B3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1EB3927A-D058-4404-84E2-E069D49495D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2FE09A27-DF6F-4349-8857-27DF4FB9F7A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A4E92CBA-75A4-440D-990E-999DA83D79B2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83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ángulo 10">
            <a:extLst>
              <a:ext uri="{FF2B5EF4-FFF2-40B4-BE49-F238E27FC236}">
                <a16:creationId xmlns:a16="http://schemas.microsoft.com/office/drawing/2014/main" id="{A2AB0CFF-34C7-4A9F-8A1F-D3D144720BAE}"/>
              </a:ext>
            </a:extLst>
          </p:cNvPr>
          <p:cNvSpPr/>
          <p:nvPr userDrawn="1"/>
        </p:nvSpPr>
        <p:spPr>
          <a:xfrm>
            <a:off x="-2" y="24549"/>
            <a:ext cx="12192002" cy="6879294"/>
          </a:xfrm>
          <a:prstGeom prst="rect">
            <a:avLst/>
          </a:prstGeom>
          <a:gradFill flip="none" rotWithShape="1">
            <a:gsLst>
              <a:gs pos="60000">
                <a:srgbClr val="F3981A"/>
              </a:gs>
              <a:gs pos="0">
                <a:srgbClr val="8827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400">
              <a:lnSpc>
                <a:spcPct val="107000"/>
              </a:lnSpc>
              <a:spcAft>
                <a:spcPts val="800"/>
              </a:spcAft>
            </a:pPr>
            <a:r>
              <a:rPr lang="es-E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3200" b="1" noProof="0" dirty="0">
                <a:solidFill>
                  <a:schemeClr val="bg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97872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3200" b="1" i="0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1" kern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0" kern="1200" cap="all" baseline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646EA-2112-4FAC-90E5-876DA30139DA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7DD4B8D-0FA8-47AF-8E58-B6C62412D88E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</p:grpSpPr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218969D8-5B7A-417D-B458-0169F165965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563ED592-40D2-49B2-8E0C-C31A349B62E5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194C964-7BB9-421A-8985-ACCB111295A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</p:grpSpPr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05404933-EDF6-405F-8673-A8B0E5107942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E923C1B3-EEF8-4BCB-BBC3-39723ED9839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BE0E7DA2-BDEC-4228-B4D7-A696E2F2D6C6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AFBE25-FD08-489E-850E-08D10039E53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</p:grpSpPr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B7F1EA3E-093A-46CA-B7D8-F5B22B8F473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4553F9A5-F8A1-4F90-B92C-C431B09BE604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EF546C-EB14-4F34-A0F0-8C0001D84D7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F89C0DA2-B59F-4CE5-B4EB-AF51D8E02C83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1AFAF745-63C0-4E7A-BAB3-D369C4EDA0BF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5ADF8620-FB6B-4E4E-B10D-C884BB9981B0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8DE0E31C-D2A1-4AE2-8C65-9D86CB64099E}"/>
                </a:ext>
              </a:extLst>
            </p:cNvPr>
            <p:cNvSpPr/>
            <p:nvPr userDrawn="1"/>
          </p:nvSpPr>
          <p:spPr>
            <a:xfrm>
              <a:off x="-504077" y="201524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F6E66543-282F-4069-8C66-5B779106002E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solidFill>
              <a:schemeClr val="bg1">
                <a:alpha val="5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6D8185E-00B1-466C-B5BB-A8F1B4543B88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solidFill>
              <a:schemeClr val="bg1">
                <a:alpha val="12000"/>
              </a:schemeClr>
            </a:solidFill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AC720C-05D9-4B56-9AF0-EEA7B2419B3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1EB3927A-D058-4404-84E2-E069D49495D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2FE09A27-DF6F-4349-8857-27DF4FB9F7A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solidFill>
                <a:schemeClr val="bg1">
                  <a:alpha val="5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A4E92CBA-75A4-440D-990E-999DA83D79B2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solidFill>
                <a:schemeClr val="bg1">
                  <a:alpha val="4000"/>
                </a:schemeClr>
              </a:solidFill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932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3200" b="1" noProof="0" dirty="0">
                <a:solidFill>
                  <a:schemeClr val="accent2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97872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3200" b="1" i="0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509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F646EA-2112-4FAC-90E5-876DA30139DA}"/>
              </a:ext>
            </a:extLst>
          </p:cNvPr>
          <p:cNvGrpSpPr/>
          <p:nvPr userDrawn="1"/>
        </p:nvGrpSpPr>
        <p:grpSpPr>
          <a:xfrm>
            <a:off x="-504077" y="2288"/>
            <a:ext cx="12375810" cy="7274623"/>
            <a:chOff x="-504077" y="2288"/>
            <a:chExt cx="12375810" cy="7274623"/>
          </a:xfrm>
          <a:solidFill>
            <a:schemeClr val="accent4">
              <a:lumMod val="20000"/>
              <a:lumOff val="80000"/>
              <a:alpha val="60000"/>
            </a:schemeClr>
          </a:solidFill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7DD4B8D-0FA8-47AF-8E58-B6C62412D88E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878978" y="3905088"/>
              <a:ext cx="2608365" cy="1875101"/>
              <a:chOff x="4679949" y="2971278"/>
              <a:chExt cx="3225248" cy="2318565"/>
            </a:xfrm>
            <a:grpFill/>
          </p:grpSpPr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218969D8-5B7A-417D-B458-0169F165965C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563ED592-40D2-49B2-8E0C-C31A349B62E5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194C964-7BB9-421A-8985-ACCB111295A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078332" y="492925"/>
              <a:ext cx="3793401" cy="1875101"/>
              <a:chOff x="4679949" y="2971278"/>
              <a:chExt cx="4690547" cy="2318565"/>
            </a:xfrm>
            <a:grpFill/>
          </p:grpSpPr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05404933-EDF6-405F-8673-A8B0E5107942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E923C1B3-EEF8-4BCB-BBC3-39723ED98398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BE0E7DA2-BDEC-4228-B4D7-A696E2F2D6C6}"/>
                  </a:ext>
                </a:extLst>
              </p:cNvPr>
              <p:cNvSpPr/>
              <p:nvPr/>
            </p:nvSpPr>
            <p:spPr>
              <a:xfrm>
                <a:off x="7617543" y="3778678"/>
                <a:ext cx="1752953" cy="1511165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AFBE25-FD08-489E-850E-08D10039E53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232720" y="4856316"/>
              <a:ext cx="2608365" cy="1875101"/>
              <a:chOff x="4679949" y="2971278"/>
              <a:chExt cx="3225248" cy="2318565"/>
            </a:xfrm>
            <a:grpFill/>
          </p:grpSpPr>
          <p:sp>
            <p:nvSpPr>
              <p:cNvPr id="21" name="Hexagon 20">
                <a:extLst>
                  <a:ext uri="{FF2B5EF4-FFF2-40B4-BE49-F238E27FC236}">
                    <a16:creationId xmlns:a16="http://schemas.microsoft.com/office/drawing/2014/main" id="{B7F1EA3E-093A-46CA-B7D8-F5B22B8F473E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Hexagon 21">
                <a:extLst>
                  <a:ext uri="{FF2B5EF4-FFF2-40B4-BE49-F238E27FC236}">
                    <a16:creationId xmlns:a16="http://schemas.microsoft.com/office/drawing/2014/main" id="{4553F9A5-F8A1-4F90-B92C-C431B09BE604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EF546C-EB14-4F34-A0F0-8C0001D84D7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447075" y="2288"/>
              <a:ext cx="2608365" cy="2516036"/>
              <a:chOff x="4679949" y="2971278"/>
              <a:chExt cx="3225248" cy="3111082"/>
            </a:xfrm>
            <a:grpFill/>
          </p:grpSpPr>
          <p:sp>
            <p:nvSpPr>
              <p:cNvPr id="24" name="Hexagon 23">
                <a:extLst>
                  <a:ext uri="{FF2B5EF4-FFF2-40B4-BE49-F238E27FC236}">
                    <a16:creationId xmlns:a16="http://schemas.microsoft.com/office/drawing/2014/main" id="{F89C0DA2-B59F-4CE5-B4EB-AF51D8E02C83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1AFAF745-63C0-4E7A-BAB3-D369C4EDA0BF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Hexagon 25">
                <a:extLst>
                  <a:ext uri="{FF2B5EF4-FFF2-40B4-BE49-F238E27FC236}">
                    <a16:creationId xmlns:a16="http://schemas.microsoft.com/office/drawing/2014/main" id="{5ADF8620-FB6B-4E4E-B10D-C884BB9981B0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8DE0E31C-D2A1-4AE2-8C65-9D86CB64099E}"/>
                </a:ext>
              </a:extLst>
            </p:cNvPr>
            <p:cNvSpPr/>
            <p:nvPr userDrawn="1"/>
          </p:nvSpPr>
          <p:spPr>
            <a:xfrm>
              <a:off x="-504077" y="2067702"/>
              <a:ext cx="1417671" cy="1222130"/>
            </a:xfrm>
            <a:prstGeom prst="hexagon">
              <a:avLst/>
            </a:prstGeom>
            <a:grpFill/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F6E66543-282F-4069-8C66-5B779106002E}"/>
                </a:ext>
              </a:extLst>
            </p:cNvPr>
            <p:cNvSpPr/>
            <p:nvPr userDrawn="1"/>
          </p:nvSpPr>
          <p:spPr>
            <a:xfrm>
              <a:off x="-504077" y="803666"/>
              <a:ext cx="1417671" cy="1222130"/>
            </a:xfrm>
            <a:prstGeom prst="hexagon">
              <a:avLst/>
            </a:prstGeom>
            <a:grpFill/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6D8185E-00B1-466C-B5BB-A8F1B4543B88}"/>
                </a:ext>
              </a:extLst>
            </p:cNvPr>
            <p:cNvSpPr/>
            <p:nvPr userDrawn="1"/>
          </p:nvSpPr>
          <p:spPr>
            <a:xfrm>
              <a:off x="9881752" y="3905088"/>
              <a:ext cx="1417671" cy="1222130"/>
            </a:xfrm>
            <a:prstGeom prst="hexagon">
              <a:avLst/>
            </a:prstGeom>
            <a:grpFill/>
            <a:ln w="22225" cap="rnd">
              <a:noFill/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CAC720C-05D9-4B56-9AF0-EEA7B2419B3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13594" y="4760875"/>
              <a:ext cx="2608365" cy="2516036"/>
              <a:chOff x="4679949" y="2971278"/>
              <a:chExt cx="3225248" cy="3111082"/>
            </a:xfrm>
            <a:grpFill/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1EB3927A-D058-4404-84E2-E069D49495DA}"/>
                  </a:ext>
                </a:extLst>
              </p:cNvPr>
              <p:cNvSpPr/>
              <p:nvPr/>
            </p:nvSpPr>
            <p:spPr>
              <a:xfrm>
                <a:off x="4679949" y="3778677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2FE09A27-DF6F-4349-8857-27DF4FB9F7A6}"/>
                  </a:ext>
                </a:extLst>
              </p:cNvPr>
              <p:cNvSpPr/>
              <p:nvPr/>
            </p:nvSpPr>
            <p:spPr>
              <a:xfrm>
                <a:off x="6152244" y="2971278"/>
                <a:ext cx="1752953" cy="1511166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A4E92CBA-75A4-440D-990E-999DA83D79B2}"/>
                  </a:ext>
                </a:extLst>
              </p:cNvPr>
              <p:cNvSpPr/>
              <p:nvPr/>
            </p:nvSpPr>
            <p:spPr>
              <a:xfrm>
                <a:off x="6148746" y="4571195"/>
                <a:ext cx="1752953" cy="1511165"/>
              </a:xfrm>
              <a:prstGeom prst="hexagon">
                <a:avLst/>
              </a:prstGeom>
              <a:grpFill/>
              <a:ln w="22225" cap="rnd">
                <a:noFill/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134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84E72597-5FA9-473E-9DF2-B958DF9446F5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82392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1351" y="6536030"/>
            <a:ext cx="525066" cy="230832"/>
          </a:xfrm>
          <a:prstGeom prst="rect">
            <a:avLst/>
          </a:prstGeom>
        </p:spPr>
        <p:txBody>
          <a:bodyPr/>
          <a:lstStyle/>
          <a:p>
            <a:fld id="{CEC4EF0E-246F-4140-862C-D670971C4B03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6736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DE">
            <a:alpha val="7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01351" y="1569084"/>
            <a:ext cx="11362660" cy="141833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01351" y="392530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238945" y="6374976"/>
            <a:ext cx="525066" cy="2308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>
              <a:defRPr sz="90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fld id="{84E72597-5FA9-473E-9DF2-B958DF9446F5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4" name="Graphic 9">
            <a:extLst>
              <a:ext uri="{FF2B5EF4-FFF2-40B4-BE49-F238E27FC236}">
                <a16:creationId xmlns:a16="http://schemas.microsoft.com/office/drawing/2014/main" id="{7585CE12-DB45-4135-A6B3-F5F84AAF0B45}"/>
              </a:ext>
            </a:extLst>
          </p:cNvPr>
          <p:cNvGrpSpPr/>
          <p:nvPr userDrawn="1"/>
        </p:nvGrpSpPr>
        <p:grpSpPr>
          <a:xfrm>
            <a:off x="401351" y="6415570"/>
            <a:ext cx="919228" cy="236142"/>
            <a:chOff x="11168862" y="6538265"/>
            <a:chExt cx="762585" cy="19590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61DFBA9-06E9-4668-9046-982010660768}"/>
                </a:ext>
              </a:extLst>
            </p:cNvPr>
            <p:cNvSpPr/>
            <p:nvPr/>
          </p:nvSpPr>
          <p:spPr>
            <a:xfrm>
              <a:off x="11314403" y="6590689"/>
              <a:ext cx="132150" cy="143465"/>
            </a:xfrm>
            <a:custGeom>
              <a:avLst/>
              <a:gdLst>
                <a:gd name="connsiteX0" fmla="*/ 125254 w 132150"/>
                <a:gd name="connsiteY0" fmla="*/ 10204 h 143465"/>
                <a:gd name="connsiteX1" fmla="*/ 70902 w 132150"/>
                <a:gd name="connsiteY1" fmla="*/ 0 h 143465"/>
                <a:gd name="connsiteX2" fmla="*/ 0 w 132150"/>
                <a:gd name="connsiteY2" fmla="*/ 71733 h 143465"/>
                <a:gd name="connsiteX3" fmla="*/ 70353 w 132150"/>
                <a:gd name="connsiteY3" fmla="*/ 143465 h 143465"/>
                <a:gd name="connsiteX4" fmla="*/ 125254 w 132150"/>
                <a:gd name="connsiteY4" fmla="*/ 132431 h 143465"/>
                <a:gd name="connsiteX5" fmla="*/ 132150 w 132150"/>
                <a:gd name="connsiteY5" fmla="*/ 121398 h 143465"/>
                <a:gd name="connsiteX6" fmla="*/ 132150 w 132150"/>
                <a:gd name="connsiteY6" fmla="*/ 21237 h 143465"/>
                <a:gd name="connsiteX7" fmla="*/ 125254 w 132150"/>
                <a:gd name="connsiteY7" fmla="*/ 10204 h 143465"/>
                <a:gd name="connsiteX8" fmla="*/ 96277 w 132150"/>
                <a:gd name="connsiteY8" fmla="*/ 100428 h 143465"/>
                <a:gd name="connsiteX9" fmla="*/ 89381 w 132150"/>
                <a:gd name="connsiteY9" fmla="*/ 107873 h 143465"/>
                <a:gd name="connsiteX10" fmla="*/ 70621 w 132150"/>
                <a:gd name="connsiteY10" fmla="*/ 110351 h 143465"/>
                <a:gd name="connsiteX11" fmla="*/ 36409 w 132150"/>
                <a:gd name="connsiteY11" fmla="*/ 71719 h 143465"/>
                <a:gd name="connsiteX12" fmla="*/ 70621 w 132150"/>
                <a:gd name="connsiteY12" fmla="*/ 33088 h 143465"/>
                <a:gd name="connsiteX13" fmla="*/ 89381 w 132150"/>
                <a:gd name="connsiteY13" fmla="*/ 35565 h 143465"/>
                <a:gd name="connsiteX14" fmla="*/ 96277 w 132150"/>
                <a:gd name="connsiteY14" fmla="*/ 43010 h 143465"/>
                <a:gd name="connsiteX15" fmla="*/ 96277 w 132150"/>
                <a:gd name="connsiteY15" fmla="*/ 100428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150" h="143465">
                  <a:moveTo>
                    <a:pt x="125254" y="10204"/>
                  </a:moveTo>
                  <a:cubicBezTo>
                    <a:pt x="107043" y="3307"/>
                    <a:pt x="89944" y="0"/>
                    <a:pt x="70902" y="0"/>
                  </a:cubicBezTo>
                  <a:cubicBezTo>
                    <a:pt x="29245" y="0"/>
                    <a:pt x="0" y="27866"/>
                    <a:pt x="0" y="71733"/>
                  </a:cubicBezTo>
                  <a:cubicBezTo>
                    <a:pt x="0" y="116149"/>
                    <a:pt x="25388" y="143465"/>
                    <a:pt x="70353" y="143465"/>
                  </a:cubicBezTo>
                  <a:cubicBezTo>
                    <a:pt x="88564" y="143465"/>
                    <a:pt x="106226" y="140426"/>
                    <a:pt x="125254" y="132431"/>
                  </a:cubicBezTo>
                  <a:cubicBezTo>
                    <a:pt x="129673" y="130503"/>
                    <a:pt x="132150" y="127464"/>
                    <a:pt x="132150" y="121398"/>
                  </a:cubicBezTo>
                  <a:lnTo>
                    <a:pt x="132150" y="21237"/>
                  </a:lnTo>
                  <a:cubicBezTo>
                    <a:pt x="132150" y="14890"/>
                    <a:pt x="129660" y="11864"/>
                    <a:pt x="125254" y="10204"/>
                  </a:cubicBezTo>
                  <a:close/>
                  <a:moveTo>
                    <a:pt x="96277" y="100428"/>
                  </a:moveTo>
                  <a:cubicBezTo>
                    <a:pt x="96277" y="104566"/>
                    <a:pt x="94068" y="106494"/>
                    <a:pt x="89381" y="107873"/>
                  </a:cubicBezTo>
                  <a:cubicBezTo>
                    <a:pt x="83315" y="109534"/>
                    <a:pt x="78066" y="110351"/>
                    <a:pt x="70621" y="110351"/>
                  </a:cubicBezTo>
                  <a:cubicBezTo>
                    <a:pt x="52959" y="110351"/>
                    <a:pt x="36409" y="99866"/>
                    <a:pt x="36409" y="71719"/>
                  </a:cubicBezTo>
                  <a:cubicBezTo>
                    <a:pt x="36409" y="43572"/>
                    <a:pt x="52959" y="33088"/>
                    <a:pt x="70621" y="33088"/>
                  </a:cubicBezTo>
                  <a:cubicBezTo>
                    <a:pt x="78066" y="33088"/>
                    <a:pt x="83315" y="33918"/>
                    <a:pt x="89381" y="35565"/>
                  </a:cubicBezTo>
                  <a:cubicBezTo>
                    <a:pt x="94068" y="36944"/>
                    <a:pt x="96277" y="38872"/>
                    <a:pt x="96277" y="43010"/>
                  </a:cubicBezTo>
                  <a:lnTo>
                    <a:pt x="96277" y="100428"/>
                  </a:ln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80EC731-3C7C-469E-A29F-55EF0789940F}"/>
                </a:ext>
              </a:extLst>
            </p:cNvPr>
            <p:cNvSpPr/>
            <p:nvPr/>
          </p:nvSpPr>
          <p:spPr>
            <a:xfrm>
              <a:off x="11170924" y="6589591"/>
              <a:ext cx="125254" cy="141804"/>
            </a:xfrm>
            <a:custGeom>
              <a:avLst/>
              <a:gdLst>
                <a:gd name="connsiteX0" fmla="*/ 36422 w 125254"/>
                <a:gd name="connsiteY0" fmla="*/ 47175 h 141804"/>
                <a:gd name="connsiteX1" fmla="*/ 59601 w 125254"/>
                <a:gd name="connsiteY1" fmla="*/ 33382 h 141804"/>
                <a:gd name="connsiteX2" fmla="*/ 101258 w 125254"/>
                <a:gd name="connsiteY2" fmla="*/ 45795 h 141804"/>
                <a:gd name="connsiteX3" fmla="*/ 105396 w 125254"/>
                <a:gd name="connsiteY3" fmla="*/ 46893 h 141804"/>
                <a:gd name="connsiteX4" fmla="*/ 111462 w 125254"/>
                <a:gd name="connsiteY4" fmla="*/ 43037 h 141804"/>
                <a:gd name="connsiteX5" fmla="*/ 120018 w 125254"/>
                <a:gd name="connsiteY5" fmla="*/ 24826 h 141804"/>
                <a:gd name="connsiteX6" fmla="*/ 121116 w 125254"/>
                <a:gd name="connsiteY6" fmla="*/ 20139 h 141804"/>
                <a:gd name="connsiteX7" fmla="*/ 117809 w 125254"/>
                <a:gd name="connsiteY7" fmla="*/ 14622 h 141804"/>
                <a:gd name="connsiteX8" fmla="*/ 60699 w 125254"/>
                <a:gd name="connsiteY8" fmla="*/ 0 h 141804"/>
                <a:gd name="connsiteX9" fmla="*/ 0 w 125254"/>
                <a:gd name="connsiteY9" fmla="*/ 49665 h 141804"/>
                <a:gd name="connsiteX10" fmla="*/ 88846 w 125254"/>
                <a:gd name="connsiteY10" fmla="*/ 126084 h 141804"/>
                <a:gd name="connsiteX11" fmla="*/ 87185 w 125254"/>
                <a:gd name="connsiteY11" fmla="*/ 136288 h 141804"/>
                <a:gd name="connsiteX12" fmla="*/ 86904 w 125254"/>
                <a:gd name="connsiteY12" fmla="*/ 137948 h 141804"/>
                <a:gd name="connsiteX13" fmla="*/ 91042 w 125254"/>
                <a:gd name="connsiteY13" fmla="*/ 141805 h 141804"/>
                <a:gd name="connsiteX14" fmla="*/ 115867 w 125254"/>
                <a:gd name="connsiteY14" fmla="*/ 141805 h 141804"/>
                <a:gd name="connsiteX15" fmla="*/ 123045 w 125254"/>
                <a:gd name="connsiteY15" fmla="*/ 136288 h 141804"/>
                <a:gd name="connsiteX16" fmla="*/ 125254 w 125254"/>
                <a:gd name="connsiteY16" fmla="*/ 120568 h 141804"/>
                <a:gd name="connsiteX17" fmla="*/ 36422 w 125254"/>
                <a:gd name="connsiteY17" fmla="*/ 47175 h 14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254" h="141804">
                  <a:moveTo>
                    <a:pt x="36422" y="47175"/>
                  </a:moveTo>
                  <a:cubicBezTo>
                    <a:pt x="36422" y="38725"/>
                    <a:pt x="44978" y="33382"/>
                    <a:pt x="59601" y="33382"/>
                  </a:cubicBezTo>
                  <a:cubicBezTo>
                    <a:pt x="73674" y="33382"/>
                    <a:pt x="87185" y="38069"/>
                    <a:pt x="101258" y="45795"/>
                  </a:cubicBezTo>
                  <a:cubicBezTo>
                    <a:pt x="102638" y="46626"/>
                    <a:pt x="104017" y="46893"/>
                    <a:pt x="105396" y="46893"/>
                  </a:cubicBezTo>
                  <a:cubicBezTo>
                    <a:pt x="107873" y="46893"/>
                    <a:pt x="110243" y="45313"/>
                    <a:pt x="111462" y="43037"/>
                  </a:cubicBezTo>
                  <a:lnTo>
                    <a:pt x="120018" y="24826"/>
                  </a:lnTo>
                  <a:cubicBezTo>
                    <a:pt x="120808" y="23125"/>
                    <a:pt x="121116" y="21518"/>
                    <a:pt x="121116" y="20139"/>
                  </a:cubicBezTo>
                  <a:cubicBezTo>
                    <a:pt x="121116" y="17930"/>
                    <a:pt x="119965" y="15881"/>
                    <a:pt x="117809" y="14622"/>
                  </a:cubicBezTo>
                  <a:cubicBezTo>
                    <a:pt x="100709" y="4687"/>
                    <a:pt x="80289" y="0"/>
                    <a:pt x="60699" y="0"/>
                  </a:cubicBezTo>
                  <a:cubicBezTo>
                    <a:pt x="23728" y="0"/>
                    <a:pt x="0" y="19871"/>
                    <a:pt x="0" y="49665"/>
                  </a:cubicBezTo>
                  <a:cubicBezTo>
                    <a:pt x="0" y="108155"/>
                    <a:pt x="88846" y="85511"/>
                    <a:pt x="88846" y="126084"/>
                  </a:cubicBezTo>
                  <a:cubicBezTo>
                    <a:pt x="88846" y="130222"/>
                    <a:pt x="88297" y="132699"/>
                    <a:pt x="87185" y="136288"/>
                  </a:cubicBezTo>
                  <a:cubicBezTo>
                    <a:pt x="87024" y="136824"/>
                    <a:pt x="86904" y="137386"/>
                    <a:pt x="86904" y="137948"/>
                  </a:cubicBezTo>
                  <a:cubicBezTo>
                    <a:pt x="86904" y="140158"/>
                    <a:pt x="88283" y="141805"/>
                    <a:pt x="91042" y="141805"/>
                  </a:cubicBezTo>
                  <a:lnTo>
                    <a:pt x="115867" y="141805"/>
                  </a:lnTo>
                  <a:cubicBezTo>
                    <a:pt x="120005" y="141805"/>
                    <a:pt x="121665" y="140426"/>
                    <a:pt x="123045" y="136288"/>
                  </a:cubicBezTo>
                  <a:cubicBezTo>
                    <a:pt x="124705" y="131601"/>
                    <a:pt x="125254" y="125254"/>
                    <a:pt x="125254" y="120568"/>
                  </a:cubicBezTo>
                  <a:cubicBezTo>
                    <a:pt x="125254" y="57927"/>
                    <a:pt x="36422" y="73005"/>
                    <a:pt x="36422" y="47175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2C495E3-228D-4C05-8E34-3CC6BC5872B8}"/>
                </a:ext>
              </a:extLst>
            </p:cNvPr>
            <p:cNvSpPr/>
            <p:nvPr/>
          </p:nvSpPr>
          <p:spPr>
            <a:xfrm>
              <a:off x="11480216" y="6590689"/>
              <a:ext cx="125535" cy="140706"/>
            </a:xfrm>
            <a:custGeom>
              <a:avLst/>
              <a:gdLst>
                <a:gd name="connsiteX0" fmla="*/ 62346 w 125535"/>
                <a:gd name="connsiteY0" fmla="*/ 0 h 140706"/>
                <a:gd name="connsiteX1" fmla="*/ 6896 w 125535"/>
                <a:gd name="connsiteY1" fmla="*/ 9936 h 140706"/>
                <a:gd name="connsiteX2" fmla="*/ 0 w 125535"/>
                <a:gd name="connsiteY2" fmla="*/ 20969 h 140706"/>
                <a:gd name="connsiteX3" fmla="*/ 0 w 125535"/>
                <a:gd name="connsiteY3" fmla="*/ 135190 h 140706"/>
                <a:gd name="connsiteX4" fmla="*/ 5517 w 125535"/>
                <a:gd name="connsiteY4" fmla="*/ 140707 h 140706"/>
                <a:gd name="connsiteX5" fmla="*/ 30343 w 125535"/>
                <a:gd name="connsiteY5" fmla="*/ 140707 h 140706"/>
                <a:gd name="connsiteX6" fmla="*/ 35860 w 125535"/>
                <a:gd name="connsiteY6" fmla="*/ 135190 h 140706"/>
                <a:gd name="connsiteX7" fmla="*/ 35860 w 125535"/>
                <a:gd name="connsiteY7" fmla="*/ 42488 h 140706"/>
                <a:gd name="connsiteX8" fmla="*/ 42488 w 125535"/>
                <a:gd name="connsiteY8" fmla="*/ 35311 h 140706"/>
                <a:gd name="connsiteX9" fmla="*/ 62908 w 125535"/>
                <a:gd name="connsiteY9" fmla="*/ 33101 h 140706"/>
                <a:gd name="connsiteX10" fmla="*/ 89676 w 125535"/>
                <a:gd name="connsiteY10" fmla="*/ 56548 h 140706"/>
                <a:gd name="connsiteX11" fmla="*/ 89676 w 125535"/>
                <a:gd name="connsiteY11" fmla="*/ 135177 h 140706"/>
                <a:gd name="connsiteX12" fmla="*/ 95193 w 125535"/>
                <a:gd name="connsiteY12" fmla="*/ 140693 h 140706"/>
                <a:gd name="connsiteX13" fmla="*/ 120018 w 125535"/>
                <a:gd name="connsiteY13" fmla="*/ 140693 h 140706"/>
                <a:gd name="connsiteX14" fmla="*/ 125535 w 125535"/>
                <a:gd name="connsiteY14" fmla="*/ 135177 h 140706"/>
                <a:gd name="connsiteX15" fmla="*/ 125535 w 125535"/>
                <a:gd name="connsiteY15" fmla="*/ 51861 h 140706"/>
                <a:gd name="connsiteX16" fmla="*/ 62346 w 125535"/>
                <a:gd name="connsiteY16" fmla="*/ 0 h 14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535" h="140706">
                  <a:moveTo>
                    <a:pt x="62346" y="0"/>
                  </a:moveTo>
                  <a:cubicBezTo>
                    <a:pt x="46063" y="0"/>
                    <a:pt x="27035" y="2758"/>
                    <a:pt x="6896" y="9936"/>
                  </a:cubicBezTo>
                  <a:cubicBezTo>
                    <a:pt x="3040" y="11315"/>
                    <a:pt x="0" y="14622"/>
                    <a:pt x="0" y="20969"/>
                  </a:cubicBezTo>
                  <a:lnTo>
                    <a:pt x="0" y="135190"/>
                  </a:lnTo>
                  <a:cubicBezTo>
                    <a:pt x="0" y="138497"/>
                    <a:pt x="2209" y="140707"/>
                    <a:pt x="5517" y="140707"/>
                  </a:cubicBezTo>
                  <a:lnTo>
                    <a:pt x="30343" y="140707"/>
                  </a:lnTo>
                  <a:cubicBezTo>
                    <a:pt x="33650" y="140707"/>
                    <a:pt x="35860" y="138497"/>
                    <a:pt x="35860" y="135190"/>
                  </a:cubicBezTo>
                  <a:lnTo>
                    <a:pt x="35860" y="42488"/>
                  </a:lnTo>
                  <a:cubicBezTo>
                    <a:pt x="35860" y="38350"/>
                    <a:pt x="38069" y="36422"/>
                    <a:pt x="42488" y="35311"/>
                  </a:cubicBezTo>
                  <a:cubicBezTo>
                    <a:pt x="49665" y="33650"/>
                    <a:pt x="54352" y="33101"/>
                    <a:pt x="62908" y="33101"/>
                  </a:cubicBezTo>
                  <a:cubicBezTo>
                    <a:pt x="77812" y="33101"/>
                    <a:pt x="89676" y="39997"/>
                    <a:pt x="89676" y="56548"/>
                  </a:cubicBezTo>
                  <a:lnTo>
                    <a:pt x="89676" y="135177"/>
                  </a:lnTo>
                  <a:cubicBezTo>
                    <a:pt x="89676" y="138484"/>
                    <a:pt x="91885" y="140693"/>
                    <a:pt x="95193" y="140693"/>
                  </a:cubicBezTo>
                  <a:lnTo>
                    <a:pt x="120018" y="140693"/>
                  </a:lnTo>
                  <a:cubicBezTo>
                    <a:pt x="123326" y="140693"/>
                    <a:pt x="125535" y="138484"/>
                    <a:pt x="125535" y="135177"/>
                  </a:cubicBezTo>
                  <a:lnTo>
                    <a:pt x="125535" y="51861"/>
                  </a:lnTo>
                  <a:cubicBezTo>
                    <a:pt x="125522" y="18211"/>
                    <a:pt x="104834" y="0"/>
                    <a:pt x="62346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955D3D2-BB61-4A1A-AF6C-A470CBEAD0FD}"/>
                </a:ext>
              </a:extLst>
            </p:cNvPr>
            <p:cNvSpPr/>
            <p:nvPr/>
          </p:nvSpPr>
          <p:spPr>
            <a:xfrm>
              <a:off x="11632225" y="6590689"/>
              <a:ext cx="138778" cy="143465"/>
            </a:xfrm>
            <a:custGeom>
              <a:avLst/>
              <a:gdLst>
                <a:gd name="connsiteX0" fmla="*/ 68425 w 138778"/>
                <a:gd name="connsiteY0" fmla="*/ 0 h 143465"/>
                <a:gd name="connsiteX1" fmla="*/ 0 w 138778"/>
                <a:gd name="connsiteY1" fmla="*/ 71733 h 143465"/>
                <a:gd name="connsiteX2" fmla="*/ 70353 w 138778"/>
                <a:gd name="connsiteY2" fmla="*/ 143465 h 143465"/>
                <a:gd name="connsiteX3" fmla="*/ 138778 w 138778"/>
                <a:gd name="connsiteY3" fmla="*/ 71733 h 143465"/>
                <a:gd name="connsiteX4" fmla="*/ 68425 w 138778"/>
                <a:gd name="connsiteY4" fmla="*/ 0 h 143465"/>
                <a:gd name="connsiteX5" fmla="*/ 70367 w 138778"/>
                <a:gd name="connsiteY5" fmla="*/ 110351 h 143465"/>
                <a:gd name="connsiteX6" fmla="*/ 36435 w 138778"/>
                <a:gd name="connsiteY6" fmla="*/ 71719 h 143465"/>
                <a:gd name="connsiteX7" fmla="*/ 68438 w 138778"/>
                <a:gd name="connsiteY7" fmla="*/ 33088 h 143465"/>
                <a:gd name="connsiteX8" fmla="*/ 102370 w 138778"/>
                <a:gd name="connsiteY8" fmla="*/ 71719 h 143465"/>
                <a:gd name="connsiteX9" fmla="*/ 70367 w 138778"/>
                <a:gd name="connsiteY9" fmla="*/ 110351 h 14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778" h="143465">
                  <a:moveTo>
                    <a:pt x="68425" y="0"/>
                  </a:moveTo>
                  <a:cubicBezTo>
                    <a:pt x="27035" y="0"/>
                    <a:pt x="0" y="30075"/>
                    <a:pt x="0" y="71733"/>
                  </a:cubicBezTo>
                  <a:cubicBezTo>
                    <a:pt x="0" y="113390"/>
                    <a:pt x="27035" y="143465"/>
                    <a:pt x="70353" y="143465"/>
                  </a:cubicBezTo>
                  <a:cubicBezTo>
                    <a:pt x="111743" y="143465"/>
                    <a:pt x="138778" y="113390"/>
                    <a:pt x="138778" y="71733"/>
                  </a:cubicBezTo>
                  <a:cubicBezTo>
                    <a:pt x="138778" y="30075"/>
                    <a:pt x="111743" y="0"/>
                    <a:pt x="68425" y="0"/>
                  </a:cubicBezTo>
                  <a:close/>
                  <a:moveTo>
                    <a:pt x="70367" y="110351"/>
                  </a:moveTo>
                  <a:cubicBezTo>
                    <a:pt x="49946" y="110351"/>
                    <a:pt x="36435" y="97107"/>
                    <a:pt x="36435" y="71719"/>
                  </a:cubicBezTo>
                  <a:cubicBezTo>
                    <a:pt x="36435" y="46331"/>
                    <a:pt x="49960" y="33088"/>
                    <a:pt x="68438" y="33088"/>
                  </a:cubicBezTo>
                  <a:cubicBezTo>
                    <a:pt x="88859" y="33088"/>
                    <a:pt x="102370" y="46331"/>
                    <a:pt x="102370" y="71719"/>
                  </a:cubicBezTo>
                  <a:cubicBezTo>
                    <a:pt x="102370" y="97107"/>
                    <a:pt x="88845" y="110351"/>
                    <a:pt x="70367" y="110351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DE51453-4B37-4549-8E13-8806F7295D7C}"/>
                </a:ext>
              </a:extLst>
            </p:cNvPr>
            <p:cNvSpPr/>
            <p:nvPr/>
          </p:nvSpPr>
          <p:spPr>
            <a:xfrm>
              <a:off x="11894342" y="6593447"/>
              <a:ext cx="35859" cy="137948"/>
            </a:xfrm>
            <a:custGeom>
              <a:avLst/>
              <a:gdLst>
                <a:gd name="connsiteX0" fmla="*/ 30343 w 35859"/>
                <a:gd name="connsiteY0" fmla="*/ 0 h 137948"/>
                <a:gd name="connsiteX1" fmla="*/ 5517 w 35859"/>
                <a:gd name="connsiteY1" fmla="*/ 0 h 137948"/>
                <a:gd name="connsiteX2" fmla="*/ 0 w 35859"/>
                <a:gd name="connsiteY2" fmla="*/ 5517 h 137948"/>
                <a:gd name="connsiteX3" fmla="*/ 0 w 35859"/>
                <a:gd name="connsiteY3" fmla="*/ 132431 h 137948"/>
                <a:gd name="connsiteX4" fmla="*/ 5517 w 35859"/>
                <a:gd name="connsiteY4" fmla="*/ 137948 h 137948"/>
                <a:gd name="connsiteX5" fmla="*/ 30343 w 35859"/>
                <a:gd name="connsiteY5" fmla="*/ 137948 h 137948"/>
                <a:gd name="connsiteX6" fmla="*/ 35860 w 35859"/>
                <a:gd name="connsiteY6" fmla="*/ 132431 h 137948"/>
                <a:gd name="connsiteX7" fmla="*/ 35860 w 35859"/>
                <a:gd name="connsiteY7" fmla="*/ 5517 h 137948"/>
                <a:gd name="connsiteX8" fmla="*/ 30343 w 35859"/>
                <a:gd name="connsiteY8" fmla="*/ 0 h 137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859" h="137948">
                  <a:moveTo>
                    <a:pt x="30343" y="0"/>
                  </a:moveTo>
                  <a:lnTo>
                    <a:pt x="5517" y="0"/>
                  </a:lnTo>
                  <a:cubicBezTo>
                    <a:pt x="2209" y="0"/>
                    <a:pt x="0" y="2209"/>
                    <a:pt x="0" y="5517"/>
                  </a:cubicBezTo>
                  <a:lnTo>
                    <a:pt x="0" y="132431"/>
                  </a:lnTo>
                  <a:cubicBezTo>
                    <a:pt x="0" y="135739"/>
                    <a:pt x="2209" y="137948"/>
                    <a:pt x="5517" y="137948"/>
                  </a:cubicBezTo>
                  <a:lnTo>
                    <a:pt x="30343" y="137948"/>
                  </a:lnTo>
                  <a:cubicBezTo>
                    <a:pt x="33650" y="137948"/>
                    <a:pt x="35860" y="135739"/>
                    <a:pt x="35860" y="132431"/>
                  </a:cubicBezTo>
                  <a:lnTo>
                    <a:pt x="35860" y="5517"/>
                  </a:lnTo>
                  <a:cubicBezTo>
                    <a:pt x="35860" y="2209"/>
                    <a:pt x="33650" y="0"/>
                    <a:pt x="30343" y="0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CC3B946-15BE-46E9-8AC3-C1976D9ADD0B}"/>
                </a:ext>
              </a:extLst>
            </p:cNvPr>
            <p:cNvSpPr/>
            <p:nvPr/>
          </p:nvSpPr>
          <p:spPr>
            <a:xfrm>
              <a:off x="11797770" y="6538265"/>
              <a:ext cx="79458" cy="193130"/>
            </a:xfrm>
            <a:custGeom>
              <a:avLst/>
              <a:gdLst>
                <a:gd name="connsiteX0" fmla="*/ 73942 w 79458"/>
                <a:gd name="connsiteY0" fmla="*/ 1928 h 193130"/>
                <a:gd name="connsiteX1" fmla="*/ 56561 w 79458"/>
                <a:gd name="connsiteY1" fmla="*/ 0 h 193130"/>
                <a:gd name="connsiteX2" fmla="*/ 0 w 79458"/>
                <a:gd name="connsiteY2" fmla="*/ 57940 h 193130"/>
                <a:gd name="connsiteX3" fmla="*/ 0 w 79458"/>
                <a:gd name="connsiteY3" fmla="*/ 187613 h 193130"/>
                <a:gd name="connsiteX4" fmla="*/ 5517 w 79458"/>
                <a:gd name="connsiteY4" fmla="*/ 193130 h 193130"/>
                <a:gd name="connsiteX5" fmla="*/ 30075 w 79458"/>
                <a:gd name="connsiteY5" fmla="*/ 193130 h 193130"/>
                <a:gd name="connsiteX6" fmla="*/ 35592 w 79458"/>
                <a:gd name="connsiteY6" fmla="*/ 187613 h 193130"/>
                <a:gd name="connsiteX7" fmla="*/ 35592 w 79458"/>
                <a:gd name="connsiteY7" fmla="*/ 85525 h 193130"/>
                <a:gd name="connsiteX8" fmla="*/ 70635 w 79458"/>
                <a:gd name="connsiteY8" fmla="*/ 85525 h 193130"/>
                <a:gd name="connsiteX9" fmla="*/ 76151 w 79458"/>
                <a:gd name="connsiteY9" fmla="*/ 80008 h 193130"/>
                <a:gd name="connsiteX10" fmla="*/ 76151 w 79458"/>
                <a:gd name="connsiteY10" fmla="*/ 60967 h 193130"/>
                <a:gd name="connsiteX11" fmla="*/ 70635 w 79458"/>
                <a:gd name="connsiteY11" fmla="*/ 55169 h 193130"/>
                <a:gd name="connsiteX12" fmla="*/ 35592 w 79458"/>
                <a:gd name="connsiteY12" fmla="*/ 55169 h 193130"/>
                <a:gd name="connsiteX13" fmla="*/ 35592 w 79458"/>
                <a:gd name="connsiteY13" fmla="*/ 52129 h 193130"/>
                <a:gd name="connsiteX14" fmla="*/ 57391 w 79458"/>
                <a:gd name="connsiteY14" fmla="*/ 29231 h 193130"/>
                <a:gd name="connsiteX15" fmla="*/ 70916 w 79458"/>
                <a:gd name="connsiteY15" fmla="*/ 30611 h 193130"/>
                <a:gd name="connsiteX16" fmla="*/ 76151 w 79458"/>
                <a:gd name="connsiteY16" fmla="*/ 25375 h 193130"/>
                <a:gd name="connsiteX17" fmla="*/ 78910 w 79458"/>
                <a:gd name="connsiteY17" fmla="*/ 11034 h 193130"/>
                <a:gd name="connsiteX18" fmla="*/ 79459 w 79458"/>
                <a:gd name="connsiteY18" fmla="*/ 7445 h 193130"/>
                <a:gd name="connsiteX19" fmla="*/ 73942 w 79458"/>
                <a:gd name="connsiteY19" fmla="*/ 1928 h 19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9458" h="193130">
                  <a:moveTo>
                    <a:pt x="73942" y="1928"/>
                  </a:moveTo>
                  <a:cubicBezTo>
                    <a:pt x="68425" y="549"/>
                    <a:pt x="62440" y="0"/>
                    <a:pt x="56561" y="0"/>
                  </a:cubicBezTo>
                  <a:cubicBezTo>
                    <a:pt x="22349" y="0"/>
                    <a:pt x="0" y="18211"/>
                    <a:pt x="0" y="57940"/>
                  </a:cubicBezTo>
                  <a:lnTo>
                    <a:pt x="0" y="187613"/>
                  </a:lnTo>
                  <a:cubicBezTo>
                    <a:pt x="0" y="190921"/>
                    <a:pt x="2209" y="193130"/>
                    <a:pt x="5517" y="193130"/>
                  </a:cubicBezTo>
                  <a:lnTo>
                    <a:pt x="30075" y="193130"/>
                  </a:lnTo>
                  <a:cubicBezTo>
                    <a:pt x="33382" y="193130"/>
                    <a:pt x="35592" y="190921"/>
                    <a:pt x="35592" y="187613"/>
                  </a:cubicBezTo>
                  <a:lnTo>
                    <a:pt x="35592" y="85525"/>
                  </a:lnTo>
                  <a:lnTo>
                    <a:pt x="70635" y="85525"/>
                  </a:lnTo>
                  <a:cubicBezTo>
                    <a:pt x="74223" y="85525"/>
                    <a:pt x="76151" y="83315"/>
                    <a:pt x="76151" y="80008"/>
                  </a:cubicBezTo>
                  <a:lnTo>
                    <a:pt x="76151" y="60967"/>
                  </a:lnTo>
                  <a:cubicBezTo>
                    <a:pt x="76151" y="57378"/>
                    <a:pt x="74223" y="55169"/>
                    <a:pt x="70635" y="55169"/>
                  </a:cubicBezTo>
                  <a:lnTo>
                    <a:pt x="35592" y="55169"/>
                  </a:lnTo>
                  <a:lnTo>
                    <a:pt x="35592" y="52129"/>
                  </a:lnTo>
                  <a:cubicBezTo>
                    <a:pt x="35592" y="36958"/>
                    <a:pt x="42207" y="29231"/>
                    <a:pt x="57391" y="29231"/>
                  </a:cubicBezTo>
                  <a:cubicBezTo>
                    <a:pt x="62908" y="29231"/>
                    <a:pt x="68854" y="30611"/>
                    <a:pt x="70916" y="30611"/>
                  </a:cubicBezTo>
                  <a:cubicBezTo>
                    <a:pt x="74223" y="30611"/>
                    <a:pt x="75602" y="28682"/>
                    <a:pt x="76151" y="25375"/>
                  </a:cubicBezTo>
                  <a:lnTo>
                    <a:pt x="78910" y="11034"/>
                  </a:lnTo>
                  <a:cubicBezTo>
                    <a:pt x="79151" y="9762"/>
                    <a:pt x="79459" y="8637"/>
                    <a:pt x="79459" y="7445"/>
                  </a:cubicBezTo>
                  <a:cubicBezTo>
                    <a:pt x="79459" y="4379"/>
                    <a:pt x="77798" y="2758"/>
                    <a:pt x="73942" y="1928"/>
                  </a:cubicBezTo>
                  <a:close/>
                </a:path>
              </a:pathLst>
            </a:custGeom>
            <a:solidFill>
              <a:srgbClr val="000000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9905020-CD0B-4A46-939E-1EAE9F95FCC5}"/>
                </a:ext>
              </a:extLst>
            </p:cNvPr>
            <p:cNvSpPr/>
            <p:nvPr/>
          </p:nvSpPr>
          <p:spPr>
            <a:xfrm>
              <a:off x="11168862" y="6696085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24F810-F334-445F-8BE8-AA5119DFE7ED}"/>
                </a:ext>
              </a:extLst>
            </p:cNvPr>
            <p:cNvSpPr/>
            <p:nvPr/>
          </p:nvSpPr>
          <p:spPr>
            <a:xfrm>
              <a:off x="11893097" y="6538319"/>
              <a:ext cx="38350" cy="38082"/>
            </a:xfrm>
            <a:custGeom>
              <a:avLst/>
              <a:gdLst>
                <a:gd name="connsiteX0" fmla="*/ 18760 w 38350"/>
                <a:gd name="connsiteY0" fmla="*/ 0 h 38082"/>
                <a:gd name="connsiteX1" fmla="*/ 0 w 38350"/>
                <a:gd name="connsiteY1" fmla="*/ 19041 h 38082"/>
                <a:gd name="connsiteX2" fmla="*/ 19590 w 38350"/>
                <a:gd name="connsiteY2" fmla="*/ 38082 h 38082"/>
                <a:gd name="connsiteX3" fmla="*/ 38350 w 38350"/>
                <a:gd name="connsiteY3" fmla="*/ 19041 h 38082"/>
                <a:gd name="connsiteX4" fmla="*/ 18760 w 38350"/>
                <a:gd name="connsiteY4" fmla="*/ 0 h 38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50" h="38082">
                  <a:moveTo>
                    <a:pt x="18760" y="0"/>
                  </a:moveTo>
                  <a:cubicBezTo>
                    <a:pt x="7445" y="0"/>
                    <a:pt x="0" y="7177"/>
                    <a:pt x="0" y="19041"/>
                  </a:cubicBezTo>
                  <a:cubicBezTo>
                    <a:pt x="0" y="30624"/>
                    <a:pt x="7445" y="38082"/>
                    <a:pt x="19590" y="38082"/>
                  </a:cubicBezTo>
                  <a:cubicBezTo>
                    <a:pt x="30905" y="38082"/>
                    <a:pt x="38350" y="30637"/>
                    <a:pt x="38350" y="19041"/>
                  </a:cubicBezTo>
                  <a:cubicBezTo>
                    <a:pt x="38350" y="7164"/>
                    <a:pt x="30892" y="0"/>
                    <a:pt x="18760" y="0"/>
                  </a:cubicBezTo>
                  <a:close/>
                </a:path>
              </a:pathLst>
            </a:custGeom>
            <a:solidFill>
              <a:srgbClr val="7A00E6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>
                <a:latin typeface="Verdana" panose="020B060403050404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A7C677B-E229-1D21-4DF4-71CD5902109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93562" y="635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4A569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80612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7" r:id="rId35"/>
    <p:sldLayoutId id="2147483698" r:id="rId36"/>
    <p:sldLayoutId id="2147483699" r:id="rId37"/>
    <p:sldLayoutId id="2147483700" r:id="rId38"/>
    <p:sldLayoutId id="2147483701" r:id="rId39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800" b="0" kern="1200" cap="none" baseline="0">
          <a:solidFill>
            <a:schemeClr val="accent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16000" indent="-216000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SzPct val="100000"/>
        <a:buFont typeface="Calibri" panose="020F0502020204030204" pitchFamily="34" charset="0"/>
        <a:buChar char="•"/>
        <a:defRPr sz="20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504000" indent="-18000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Calibri" panose="020F0502020204030204" pitchFamily="34" charset="0"/>
        <a:buChar char="‒"/>
        <a:defRPr sz="18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792000" indent="-171450" algn="l" defTabSz="685800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Calibri" panose="020F0502020204030204" pitchFamily="34" charset="0"/>
        <a:buChar char="–"/>
        <a:defRPr sz="16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044000" indent="-144000" algn="l" defTabSz="6858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1296000" indent="-144000" algn="l" defTabSz="6858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200" b="0" kern="1200">
          <a:solidFill>
            <a:schemeClr val="tx1">
              <a:lumMod val="75000"/>
              <a:lumOff val="2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microsoft.com/office/2018/10/relationships/comments" Target="../comments/modernComment_1C1F_61AB9BC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20_29AB040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4" Type="http://schemas.openxmlformats.org/officeDocument/2006/relationships/hyperlink" Target="https://ora.ox.ac.uk/objects/uuid:1373441b-a98c-45f6-9fa5-0d1086540f3e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microsoft.com/office/2018/10/relationships/comments" Target="../comments/modernComment_1067_2E3B891D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microsoft.com/office/2018/10/relationships/comments" Target="../comments/modernComment_1C22_8FE4B80E.xml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microsoft.com/office/2018/10/relationships/comments" Target="../comments/modernComment_1C23_EF0547E6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7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microsoft.com/office/2018/10/relationships/comments" Target="../comments/modernComment_1C24_3061C0EE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100_1C3E5FB2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E6032_1630A586.xml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microsoft.com/office/2018/10/relationships/comments" Target="../comments/modernComment_1C26_2812D1C3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3514_2FD87B9B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sv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microsoft.com/office/2018/10/relationships/comments" Target="../comments/modernComment_247_9B73341F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3.jpeg"/><Relationship Id="rId7" Type="http://schemas.openxmlformats.org/officeDocument/2006/relationships/image" Target="../media/image26.wmf"/><Relationship Id="rId12" Type="http://schemas.openxmlformats.org/officeDocument/2006/relationships/image" Target="../media/image31.wmf"/><Relationship Id="rId2" Type="http://schemas.microsoft.com/office/2018/10/relationships/comments" Target="../comments/modernComment_271_8193E60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5.wmf"/><Relationship Id="rId11" Type="http://schemas.openxmlformats.org/officeDocument/2006/relationships/image" Target="../media/image30.wmf"/><Relationship Id="rId5" Type="http://schemas.openxmlformats.org/officeDocument/2006/relationships/image" Target="../media/image24.wmf"/><Relationship Id="rId10" Type="http://schemas.openxmlformats.org/officeDocument/2006/relationships/image" Target="../media/image29.wmf"/><Relationship Id="rId4" Type="http://schemas.openxmlformats.org/officeDocument/2006/relationships/image" Target="file:////var/folders/7_/lfdt1qtj0kl66_b85h_b91zw0000gn/T/com.microsoft.Word/WebArchiveCopyPasteTempFiles/1000_F_230555654_013CSHxGDNOFqYpPbUI6hNJ3VeoBCBX2.jpg" TargetMode="External"/><Relationship Id="rId9" Type="http://schemas.openxmlformats.org/officeDocument/2006/relationships/image" Target="../media/image28.wmf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1D_70D0663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gastroenterology.org/guidelines/global-guidelines/nafld-nash" TargetMode="Externa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picture containing text&#10;&#10;Description automatically generated">
            <a:extLst>
              <a:ext uri="{FF2B5EF4-FFF2-40B4-BE49-F238E27FC236}">
                <a16:creationId xmlns:a16="http://schemas.microsoft.com/office/drawing/2014/main" id="{3F4E2282-4876-E61E-2F12-C7736562B15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9" r="3519"/>
          <a:stretch>
            <a:fillRect/>
          </a:stretch>
        </p:blipFill>
        <p:spPr>
          <a:xfrm>
            <a:off x="0" y="0"/>
            <a:ext cx="6374847" cy="6858000"/>
          </a:xfrm>
        </p:spPr>
      </p:pic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CAFF62F1-F222-21AA-5A68-1D0EF351B623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C936FE17-2649-2B92-B18E-7FC86FA14DF5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/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10775-3561-4E9A-3C34-6BCF161DB8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10917" y="1729938"/>
            <a:ext cx="5500569" cy="1658148"/>
          </a:xfrm>
        </p:spPr>
        <p:txBody>
          <a:bodyPr/>
          <a:lstStyle/>
          <a:p>
            <a:r>
              <a:rPr lang="en-GB" sz="2800" b="1" dirty="0"/>
              <a:t>MAFLD: The importance of early identification and interven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2EAC95-4135-3BED-7423-014C1F7A0A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51650" y="3448062"/>
            <a:ext cx="4949741" cy="537959"/>
          </a:xfrm>
        </p:spPr>
        <p:txBody>
          <a:bodyPr/>
          <a:lstStyle/>
          <a:p>
            <a:r>
              <a:rPr lang="en-GB" sz="2000" dirty="0">
                <a:latin typeface="Verdana" panose="020B0604030504040204" pitchFamily="34" charset="0"/>
              </a:rPr>
              <a:t>Professor Carmen Fierbinteanu-</a:t>
            </a:r>
            <a:r>
              <a:rPr lang="en-GB" sz="2000" dirty="0" err="1">
                <a:latin typeface="Verdana" panose="020B0604030504040204" pitchFamily="34" charset="0"/>
              </a:rPr>
              <a:t>Braticevici</a:t>
            </a:r>
            <a:r>
              <a:rPr lang="en-GB" sz="2000" dirty="0">
                <a:latin typeface="Verdana" panose="020B0604030504040204" pitchFamily="34" charset="0"/>
              </a:rPr>
              <a:t> (MD, PhD, AGAF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F332DD-935F-B728-5171-2410CB64C30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51650" y="4173009"/>
            <a:ext cx="4949741" cy="770660"/>
          </a:xfrm>
        </p:spPr>
        <p:txBody>
          <a:bodyPr/>
          <a:lstStyle/>
          <a:p>
            <a:r>
              <a:rPr lang="en-GB" dirty="0"/>
              <a:t>Head of Gastroenterology Department, University Hospital Bucharest, Romania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D2D93B-0F64-462E-1EBC-DBD13646670B}"/>
              </a:ext>
            </a:extLst>
          </p:cNvPr>
          <p:cNvSpPr txBox="1"/>
          <p:nvPr/>
        </p:nvSpPr>
        <p:spPr>
          <a:xfrm>
            <a:off x="231606" y="6393687"/>
            <a:ext cx="634753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AT-GLB-2302796-v-1.0 │ Date of approval: June 2023</a:t>
            </a:r>
            <a:endParaRPr lang="en-GB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95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 : avec coins arrondis en diagonale 8">
            <a:extLst>
              <a:ext uri="{FF2B5EF4-FFF2-40B4-BE49-F238E27FC236}">
                <a16:creationId xmlns:a16="http://schemas.microsoft.com/office/drawing/2014/main" id="{6D076A4A-8884-4733-A480-E4A56EFF7A8D}"/>
              </a:ext>
            </a:extLst>
          </p:cNvPr>
          <p:cNvSpPr/>
          <p:nvPr/>
        </p:nvSpPr>
        <p:spPr>
          <a:xfrm>
            <a:off x="623888" y="1558926"/>
            <a:ext cx="5965448" cy="3852862"/>
          </a:xfrm>
          <a:prstGeom prst="round2DiagRect">
            <a:avLst>
              <a:gd name="adj1" fmla="val 9699"/>
              <a:gd name="adj2" fmla="val 0"/>
            </a:avLst>
          </a:prstGeom>
          <a:solidFill>
            <a:schemeClr val="bg1"/>
          </a:solidFill>
          <a:ln w="1905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8F7927-672B-41E9-BF66-29D6A7E183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652459"/>
            <a:ext cx="5965448" cy="624675"/>
          </a:xfrm>
        </p:spPr>
        <p:txBody>
          <a:bodyPr>
            <a:normAutofit fontScale="85000" lnSpcReduction="10000"/>
          </a:bodyPr>
          <a:lstStyle/>
          <a:p>
            <a:pPr marL="0" indent="0" algn="ctr">
              <a:buNone/>
            </a:pPr>
            <a:r>
              <a:rPr lang="en-GB" b="1" dirty="0"/>
              <a:t>Retrospective survival analysis of 646</a:t>
            </a:r>
            <a:br>
              <a:rPr lang="en-GB" b="1" dirty="0"/>
            </a:br>
            <a:r>
              <a:rPr lang="en-GB" b="1" dirty="0"/>
              <a:t>patients with NAFLD and matched controls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2016AF-B6FB-4436-A545-3971314809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07823" y="6333157"/>
            <a:ext cx="6297998" cy="333375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NAFLD, non-alcoholic fatty liver disease; NASH, non-alcoholic steatohepatitis</a:t>
            </a:r>
            <a:br>
              <a:rPr lang="en-GB" dirty="0"/>
            </a:br>
            <a:r>
              <a:rPr lang="en-GB" dirty="0"/>
              <a:t>Hagström H, et al. J Hepatol 2017;67(6):1265–1273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B1D7CDA-FE75-42BE-8988-92C141F51A26}"/>
              </a:ext>
            </a:extLst>
          </p:cNvPr>
          <p:cNvSpPr txBox="1">
            <a:spLocks/>
          </p:cNvSpPr>
          <p:nvPr/>
        </p:nvSpPr>
        <p:spPr>
          <a:xfrm>
            <a:off x="6832898" y="1558926"/>
            <a:ext cx="4928008" cy="3852862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indent="-358775">
              <a:lnSpc>
                <a:spcPts val="2800"/>
              </a:lnSpc>
              <a:spcBef>
                <a:spcPts val="0"/>
              </a:spcBef>
              <a:spcAft>
                <a:spcPts val="2400"/>
              </a:spcAft>
              <a:tabLst>
                <a:tab pos="358775" algn="l"/>
              </a:tabLst>
            </a:pPr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  <a:t>Liver fibrosis is the most important histological feature associated</a:t>
            </a:r>
            <a:b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  <a:t>with liver-related mortality and</a:t>
            </a:r>
            <a:b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  <a:t>liver-related complications   </a:t>
            </a:r>
          </a:p>
          <a:p>
            <a:pPr marL="358775" indent="-358775">
              <a:lnSpc>
                <a:spcPts val="2800"/>
              </a:lnSpc>
              <a:spcBef>
                <a:spcPts val="0"/>
              </a:spcBef>
              <a:spcAft>
                <a:spcPts val="2400"/>
              </a:spcAft>
              <a:tabLst>
                <a:tab pos="358775" algn="l"/>
              </a:tabLst>
            </a:pPr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  <a:t>Presence of fibrosis, rather than the histological diagnosis of NASH, is associated with long-term overall mortality, liver transplantation, and </a:t>
            </a:r>
            <a:b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</a:rPr>
              <a:t>liver-related event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9A321A8-257C-47E7-9473-7FE231A473F2}"/>
              </a:ext>
            </a:extLst>
          </p:cNvPr>
          <p:cNvGrpSpPr/>
          <p:nvPr/>
        </p:nvGrpSpPr>
        <p:grpSpPr>
          <a:xfrm>
            <a:off x="846307" y="2372541"/>
            <a:ext cx="6077325" cy="2749004"/>
            <a:chOff x="842844" y="2711055"/>
            <a:chExt cx="6077325" cy="274900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5853047-8922-44A1-9284-67640DE1E7B7}"/>
                </a:ext>
              </a:extLst>
            </p:cNvPr>
            <p:cNvCxnSpPr/>
            <p:nvPr/>
          </p:nvCxnSpPr>
          <p:spPr>
            <a:xfrm>
              <a:off x="1447800" y="5186680"/>
              <a:ext cx="4165600" cy="0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A58BE76-7DC6-411E-83F5-4D5936AC284A}"/>
                </a:ext>
              </a:extLst>
            </p:cNvPr>
            <p:cNvCxnSpPr/>
            <p:nvPr/>
          </p:nvCxnSpPr>
          <p:spPr>
            <a:xfrm flipV="1">
              <a:off x="1488440" y="2860040"/>
              <a:ext cx="0" cy="2392680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76D885D-9C05-4F56-BE81-CC3FEAD0FF0F}"/>
                </a:ext>
              </a:extLst>
            </p:cNvPr>
            <p:cNvCxnSpPr/>
            <p:nvPr/>
          </p:nvCxnSpPr>
          <p:spPr>
            <a:xfrm flipH="1">
              <a:off x="3626908" y="5008033"/>
              <a:ext cx="389467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2216A60-BC15-42C5-810F-A612EE4D4B7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22145" y="4811716"/>
              <a:ext cx="3176" cy="196317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CDFF75C-748E-497B-846C-F01A9646AA8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60725" y="4810125"/>
              <a:ext cx="355600" cy="1591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4E020C1-15C7-4781-A32D-CB68D9F146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60725" y="4421108"/>
              <a:ext cx="0" cy="390608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21F0A0B-A020-4D78-97A1-6C1341E5D9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09925" y="4413251"/>
              <a:ext cx="50800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A161A94-BA1A-4D93-BEBC-D7FB647C5992}"/>
                </a:ext>
              </a:extLst>
            </p:cNvPr>
            <p:cNvCxnSpPr/>
            <p:nvPr/>
          </p:nvCxnSpPr>
          <p:spPr>
            <a:xfrm flipV="1">
              <a:off x="3209925" y="4214813"/>
              <a:ext cx="0" cy="195262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6F2CA86-CA92-42C4-A99E-3A0CC42750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43238" y="4214813"/>
              <a:ext cx="166688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6428A06-D44A-4797-9EA6-F17F2DA52A4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35302" y="4046541"/>
              <a:ext cx="0" cy="168272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D03F63E-FFD5-44B6-98EA-6E667245EE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000" y="4046538"/>
              <a:ext cx="109539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98AE7A0-9F4B-4847-B29E-4A3E2C7E0278}"/>
                </a:ext>
              </a:extLst>
            </p:cNvPr>
            <p:cNvCxnSpPr/>
            <p:nvPr/>
          </p:nvCxnSpPr>
          <p:spPr>
            <a:xfrm flipV="1">
              <a:off x="2921000" y="3895725"/>
              <a:ext cx="0" cy="150813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DB2AD04-9B7C-48DE-8EB5-2327A318FC5B}"/>
                </a:ext>
              </a:extLst>
            </p:cNvPr>
            <p:cNvCxnSpPr/>
            <p:nvPr/>
          </p:nvCxnSpPr>
          <p:spPr>
            <a:xfrm flipH="1">
              <a:off x="2794000" y="3895725"/>
              <a:ext cx="127000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32F34E7-9E09-470C-ACF2-8592604FAC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87648" y="3765551"/>
              <a:ext cx="0" cy="130174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ACFBFD3-55A7-4223-9528-204694266744}"/>
                </a:ext>
              </a:extLst>
            </p:cNvPr>
            <p:cNvCxnSpPr/>
            <p:nvPr/>
          </p:nvCxnSpPr>
          <p:spPr>
            <a:xfrm flipH="1">
              <a:off x="2747963" y="3765551"/>
              <a:ext cx="39685" cy="0"/>
            </a:xfrm>
            <a:prstGeom prst="line">
              <a:avLst/>
            </a:prstGeom>
            <a:ln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203BFAB-0D9E-428D-BACA-C4F6135E3984}"/>
                </a:ext>
              </a:extLst>
            </p:cNvPr>
            <p:cNvCxnSpPr/>
            <p:nvPr/>
          </p:nvCxnSpPr>
          <p:spPr>
            <a:xfrm flipV="1">
              <a:off x="2747963" y="3646488"/>
              <a:ext cx="0" cy="119063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326FAE9E-A52C-4012-B9CA-4F23E444CCC3}"/>
                </a:ext>
              </a:extLst>
            </p:cNvPr>
            <p:cNvCxnSpPr/>
            <p:nvPr/>
          </p:nvCxnSpPr>
          <p:spPr>
            <a:xfrm flipH="1">
              <a:off x="2728913" y="3646488"/>
              <a:ext cx="19050" cy="0"/>
            </a:xfrm>
            <a:prstGeom prst="line">
              <a:avLst/>
            </a:prstGeom>
            <a:ln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092EC36-0EBD-483A-8CB9-9DD4F4A356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30501" y="3519487"/>
              <a:ext cx="0" cy="127001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8CF8DE2-6E4B-42FA-AC80-44D52A9FF6BF}"/>
                </a:ext>
              </a:extLst>
            </p:cNvPr>
            <p:cNvCxnSpPr/>
            <p:nvPr/>
          </p:nvCxnSpPr>
          <p:spPr>
            <a:xfrm flipH="1">
              <a:off x="2381251" y="3519487"/>
              <a:ext cx="349250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3F74C8F-09F0-4467-8E71-4837F3D80B4F}"/>
                </a:ext>
              </a:extLst>
            </p:cNvPr>
            <p:cNvCxnSpPr/>
            <p:nvPr/>
          </p:nvCxnSpPr>
          <p:spPr>
            <a:xfrm flipV="1">
              <a:off x="2381251" y="3378200"/>
              <a:ext cx="0" cy="141287"/>
            </a:xfrm>
            <a:prstGeom prst="line">
              <a:avLst/>
            </a:prstGeom>
            <a:ln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BB88C84-79CA-48FE-9A3F-FCB60772EE7C}"/>
                </a:ext>
              </a:extLst>
            </p:cNvPr>
            <p:cNvCxnSpPr/>
            <p:nvPr/>
          </p:nvCxnSpPr>
          <p:spPr>
            <a:xfrm flipH="1">
              <a:off x="2344738" y="3378200"/>
              <a:ext cx="36513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521F318-E5EE-402B-9B5D-DD5888133B08}"/>
                </a:ext>
              </a:extLst>
            </p:cNvPr>
            <p:cNvCxnSpPr/>
            <p:nvPr/>
          </p:nvCxnSpPr>
          <p:spPr>
            <a:xfrm flipV="1">
              <a:off x="2344738" y="3255963"/>
              <a:ext cx="0" cy="122237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FC36322-C7EB-4161-9328-4ADA6BC618A6}"/>
                </a:ext>
              </a:extLst>
            </p:cNvPr>
            <p:cNvCxnSpPr/>
            <p:nvPr/>
          </p:nvCxnSpPr>
          <p:spPr>
            <a:xfrm flipH="1">
              <a:off x="2228850" y="3255963"/>
              <a:ext cx="115888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405E82B-C332-4B5D-943A-D80184A491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5675" y="3149600"/>
              <a:ext cx="0" cy="106363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21166F6-5DE5-4133-ACD1-C2F0B6CE8C85}"/>
                </a:ext>
              </a:extLst>
            </p:cNvPr>
            <p:cNvCxnSpPr/>
            <p:nvPr/>
          </p:nvCxnSpPr>
          <p:spPr>
            <a:xfrm flipH="1">
              <a:off x="2047875" y="3143250"/>
              <a:ext cx="180975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7D8347F3-4DEF-4787-BC90-31EB62F80AA7}"/>
                </a:ext>
              </a:extLst>
            </p:cNvPr>
            <p:cNvCxnSpPr/>
            <p:nvPr/>
          </p:nvCxnSpPr>
          <p:spPr>
            <a:xfrm flipV="1">
              <a:off x="2047875" y="3033713"/>
              <a:ext cx="0" cy="106362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2E85CE5-43EA-4369-A54A-820B9E9060C9}"/>
                </a:ext>
              </a:extLst>
            </p:cNvPr>
            <p:cNvCxnSpPr/>
            <p:nvPr/>
          </p:nvCxnSpPr>
          <p:spPr>
            <a:xfrm flipH="1">
              <a:off x="1754188" y="3032125"/>
              <a:ext cx="293687" cy="0"/>
            </a:xfrm>
            <a:prstGeom prst="line">
              <a:avLst/>
            </a:prstGeom>
            <a:ln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1E8D131-E8E6-4D16-9A0C-531AF63277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4188" y="2945209"/>
              <a:ext cx="0" cy="86916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C2E5A5C-2144-41ED-A79B-54FA3280999A}"/>
                </a:ext>
              </a:extLst>
            </p:cNvPr>
            <p:cNvCxnSpPr/>
            <p:nvPr/>
          </p:nvCxnSpPr>
          <p:spPr>
            <a:xfrm flipH="1">
              <a:off x="1614488" y="2938463"/>
              <a:ext cx="139700" cy="0"/>
            </a:xfrm>
            <a:prstGeom prst="line">
              <a:avLst/>
            </a:prstGeom>
            <a:ln cap="sq"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D4CF5C5-DEF8-46B4-BBE5-D0BE57741BA9}"/>
                </a:ext>
              </a:extLst>
            </p:cNvPr>
            <p:cNvCxnSpPr/>
            <p:nvPr/>
          </p:nvCxnSpPr>
          <p:spPr>
            <a:xfrm flipV="1">
              <a:off x="1612900" y="2901950"/>
              <a:ext cx="0" cy="34925"/>
            </a:xfrm>
            <a:prstGeom prst="line">
              <a:avLst/>
            </a:prstGeom>
            <a:ln>
              <a:solidFill>
                <a:srgbClr val="B15218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6D1E737A-F3D8-432C-8A8D-CA201D19D736}"/>
                </a:ext>
              </a:extLst>
            </p:cNvPr>
            <p:cNvCxnSpPr/>
            <p:nvPr/>
          </p:nvCxnSpPr>
          <p:spPr>
            <a:xfrm flipH="1">
              <a:off x="4398963" y="4786313"/>
              <a:ext cx="696912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AB506581-9CB1-4A16-A6A7-84F689D9A9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98963" y="4656139"/>
              <a:ext cx="1" cy="127794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55E0538A-C8D0-4274-A561-CF727D252223}"/>
                </a:ext>
              </a:extLst>
            </p:cNvPr>
            <p:cNvCxnSpPr/>
            <p:nvPr/>
          </p:nvCxnSpPr>
          <p:spPr>
            <a:xfrm flipH="1">
              <a:off x="4273550" y="4657725"/>
              <a:ext cx="125413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D5D2E002-7129-4A48-81C4-2C1088D99F8C}"/>
                </a:ext>
              </a:extLst>
            </p:cNvPr>
            <p:cNvCxnSpPr/>
            <p:nvPr/>
          </p:nvCxnSpPr>
          <p:spPr>
            <a:xfrm flipV="1">
              <a:off x="4275138" y="4537075"/>
              <a:ext cx="0" cy="119063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78266A65-DA5A-4C28-BAC0-102D89F476D5}"/>
                </a:ext>
              </a:extLst>
            </p:cNvPr>
            <p:cNvCxnSpPr/>
            <p:nvPr/>
          </p:nvCxnSpPr>
          <p:spPr>
            <a:xfrm flipH="1">
              <a:off x="4089400" y="4538663"/>
              <a:ext cx="18415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47D97C3-4FDE-4435-9278-6FD1F8EAD4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89400" y="4430713"/>
              <a:ext cx="0" cy="106362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F73F21F-8F96-4599-B10D-03B8F137CF45}"/>
                </a:ext>
              </a:extLst>
            </p:cNvPr>
            <p:cNvCxnSpPr/>
            <p:nvPr/>
          </p:nvCxnSpPr>
          <p:spPr>
            <a:xfrm flipH="1">
              <a:off x="4043363" y="4432300"/>
              <a:ext cx="46037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8D2BC4F-886E-4A45-93F5-C401991940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41775" y="4375150"/>
              <a:ext cx="1588" cy="55564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CA2DA11-22B0-41EC-BC7E-BAAAF1BE2F04}"/>
                </a:ext>
              </a:extLst>
            </p:cNvPr>
            <p:cNvCxnSpPr/>
            <p:nvPr/>
          </p:nvCxnSpPr>
          <p:spPr>
            <a:xfrm flipH="1">
              <a:off x="3971925" y="4365625"/>
              <a:ext cx="71438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9110575-263D-4E4E-B55A-9DCF9404F69F}"/>
                </a:ext>
              </a:extLst>
            </p:cNvPr>
            <p:cNvCxnSpPr/>
            <p:nvPr/>
          </p:nvCxnSpPr>
          <p:spPr>
            <a:xfrm flipV="1">
              <a:off x="3973513" y="4298950"/>
              <a:ext cx="0" cy="6350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1A89849-A20E-4E39-9547-FBFA5A2B3E0B}"/>
                </a:ext>
              </a:extLst>
            </p:cNvPr>
            <p:cNvCxnSpPr/>
            <p:nvPr/>
          </p:nvCxnSpPr>
          <p:spPr>
            <a:xfrm flipH="1">
              <a:off x="3954463" y="4298950"/>
              <a:ext cx="17462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BFD487F1-C0AA-4EF2-8C72-0F84B009560E}"/>
                </a:ext>
              </a:extLst>
            </p:cNvPr>
            <p:cNvCxnSpPr/>
            <p:nvPr/>
          </p:nvCxnSpPr>
          <p:spPr>
            <a:xfrm flipV="1">
              <a:off x="3956050" y="4240213"/>
              <a:ext cx="0" cy="58737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166CC03-07C0-4D72-92B6-83490940109F}"/>
                </a:ext>
              </a:extLst>
            </p:cNvPr>
            <p:cNvCxnSpPr/>
            <p:nvPr/>
          </p:nvCxnSpPr>
          <p:spPr>
            <a:xfrm flipH="1">
              <a:off x="3879850" y="4240213"/>
              <a:ext cx="74613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259D56E-E88C-4C51-91C5-32F99BBF7C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78263" y="4195763"/>
              <a:ext cx="0" cy="4445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FA7BAEA-F353-47A3-B0E1-76742572E2E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92538" y="4186239"/>
              <a:ext cx="87313" cy="1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264F24F-4444-4000-A013-200A2DB2EA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90950" y="4116389"/>
              <a:ext cx="0" cy="69693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F3EB92B-8EAF-40D9-92D1-FB1F9D68CB9D}"/>
                </a:ext>
              </a:extLst>
            </p:cNvPr>
            <p:cNvCxnSpPr/>
            <p:nvPr/>
          </p:nvCxnSpPr>
          <p:spPr>
            <a:xfrm>
              <a:off x="3786188" y="4116388"/>
              <a:ext cx="0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74BBA964-82B0-4C8A-9E76-E8B046DFA7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79836" y="4059242"/>
              <a:ext cx="0" cy="65085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A03B366-4A11-453F-B018-4C54397A39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75050" y="4059242"/>
              <a:ext cx="204786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E253299-2F91-4542-A06B-97146988F1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71875" y="3994151"/>
              <a:ext cx="0" cy="65091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AA0D0CB-98E5-4D4B-84CF-6222CF51E6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06788" y="3994150"/>
              <a:ext cx="65087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11E3149-0782-487D-9C7B-C56D0B7D4B09}"/>
                </a:ext>
              </a:extLst>
            </p:cNvPr>
            <p:cNvCxnSpPr/>
            <p:nvPr/>
          </p:nvCxnSpPr>
          <p:spPr>
            <a:xfrm flipV="1">
              <a:off x="3506788" y="3935413"/>
              <a:ext cx="0" cy="58737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19B18656-7C2C-4C14-9B53-80F59F2BCCAC}"/>
                </a:ext>
              </a:extLst>
            </p:cNvPr>
            <p:cNvCxnSpPr/>
            <p:nvPr/>
          </p:nvCxnSpPr>
          <p:spPr>
            <a:xfrm flipH="1">
              <a:off x="3494088" y="3933825"/>
              <a:ext cx="12700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E904DE45-C464-405F-90D5-8DDC9FA2A310}"/>
                </a:ext>
              </a:extLst>
            </p:cNvPr>
            <p:cNvCxnSpPr/>
            <p:nvPr/>
          </p:nvCxnSpPr>
          <p:spPr>
            <a:xfrm flipV="1">
              <a:off x="3494088" y="3895725"/>
              <a:ext cx="0" cy="39688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7DDEC44E-CC3F-4266-8BB2-7F2D5DD4865B}"/>
                </a:ext>
              </a:extLst>
            </p:cNvPr>
            <p:cNvCxnSpPr/>
            <p:nvPr/>
          </p:nvCxnSpPr>
          <p:spPr>
            <a:xfrm flipH="1">
              <a:off x="3475038" y="3895725"/>
              <a:ext cx="19050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46B77401-B416-47F8-9A73-F3C8A4DD2DFB}"/>
                </a:ext>
              </a:extLst>
            </p:cNvPr>
            <p:cNvCxnSpPr/>
            <p:nvPr/>
          </p:nvCxnSpPr>
          <p:spPr>
            <a:xfrm flipV="1">
              <a:off x="3473450" y="3811588"/>
              <a:ext cx="0" cy="84137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19D8BF3-44A6-4BC1-BA1E-D6C7424A24F4}"/>
                </a:ext>
              </a:extLst>
            </p:cNvPr>
            <p:cNvCxnSpPr/>
            <p:nvPr/>
          </p:nvCxnSpPr>
          <p:spPr>
            <a:xfrm flipH="1">
              <a:off x="3322638" y="3813175"/>
              <a:ext cx="15240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B6F1A1CA-5D19-4D96-83EC-DD80236E955E}"/>
                </a:ext>
              </a:extLst>
            </p:cNvPr>
            <p:cNvCxnSpPr/>
            <p:nvPr/>
          </p:nvCxnSpPr>
          <p:spPr>
            <a:xfrm flipV="1">
              <a:off x="3321050" y="3751263"/>
              <a:ext cx="0" cy="60325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44E3D26-472A-44FA-A655-25A4D624D5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94064" y="3751263"/>
              <a:ext cx="23811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877F803-259A-4F9C-BB2B-78B77F4622D6}"/>
                </a:ext>
              </a:extLst>
            </p:cNvPr>
            <p:cNvCxnSpPr/>
            <p:nvPr/>
          </p:nvCxnSpPr>
          <p:spPr>
            <a:xfrm flipV="1">
              <a:off x="3294063" y="3703638"/>
              <a:ext cx="0" cy="47625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D559C91-FB44-45A7-A8F1-CB65985C8C9D}"/>
                </a:ext>
              </a:extLst>
            </p:cNvPr>
            <p:cNvCxnSpPr/>
            <p:nvPr/>
          </p:nvCxnSpPr>
          <p:spPr>
            <a:xfrm flipH="1">
              <a:off x="3278188" y="3702050"/>
              <a:ext cx="15875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E875B13C-65E0-4950-9D66-80C3BC8C7E1E}"/>
                </a:ext>
              </a:extLst>
            </p:cNvPr>
            <p:cNvCxnSpPr/>
            <p:nvPr/>
          </p:nvCxnSpPr>
          <p:spPr>
            <a:xfrm flipV="1">
              <a:off x="3278188" y="3646488"/>
              <a:ext cx="0" cy="5715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3B2D6EE-B97E-4BE7-A6DD-BBA313F2258A}"/>
                </a:ext>
              </a:extLst>
            </p:cNvPr>
            <p:cNvCxnSpPr/>
            <p:nvPr/>
          </p:nvCxnSpPr>
          <p:spPr>
            <a:xfrm flipH="1">
              <a:off x="3260725" y="3646488"/>
              <a:ext cx="17463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031CC291-9450-4D54-A866-135A083A7FF3}"/>
                </a:ext>
              </a:extLst>
            </p:cNvPr>
            <p:cNvCxnSpPr/>
            <p:nvPr/>
          </p:nvCxnSpPr>
          <p:spPr>
            <a:xfrm flipV="1">
              <a:off x="3260725" y="3582988"/>
              <a:ext cx="0" cy="6350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65E8318-D72B-4ED4-8AF8-16BAB153D89B}"/>
                </a:ext>
              </a:extLst>
            </p:cNvPr>
            <p:cNvCxnSpPr/>
            <p:nvPr/>
          </p:nvCxnSpPr>
          <p:spPr>
            <a:xfrm flipH="1">
              <a:off x="3140075" y="3582988"/>
              <a:ext cx="12065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176B3D90-DADC-4E26-8802-BAF22FE50EB2}"/>
                </a:ext>
              </a:extLst>
            </p:cNvPr>
            <p:cNvCxnSpPr/>
            <p:nvPr/>
          </p:nvCxnSpPr>
          <p:spPr>
            <a:xfrm flipV="1">
              <a:off x="3140075" y="3533775"/>
              <a:ext cx="0" cy="49213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21AAA270-ABA5-43B0-A7CE-A0675D2CA959}"/>
                </a:ext>
              </a:extLst>
            </p:cNvPr>
            <p:cNvCxnSpPr/>
            <p:nvPr/>
          </p:nvCxnSpPr>
          <p:spPr>
            <a:xfrm flipH="1">
              <a:off x="2955925" y="3533775"/>
              <a:ext cx="18415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A44E627A-63B1-4B6F-953B-742763CAA858}"/>
                </a:ext>
              </a:extLst>
            </p:cNvPr>
            <p:cNvCxnSpPr/>
            <p:nvPr/>
          </p:nvCxnSpPr>
          <p:spPr>
            <a:xfrm flipV="1">
              <a:off x="2955925" y="3484563"/>
              <a:ext cx="0" cy="49212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20E1312-8DD7-4375-97AD-D5BF71DA15A8}"/>
                </a:ext>
              </a:extLst>
            </p:cNvPr>
            <p:cNvCxnSpPr/>
            <p:nvPr/>
          </p:nvCxnSpPr>
          <p:spPr>
            <a:xfrm flipH="1">
              <a:off x="2862263" y="3484563"/>
              <a:ext cx="93662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D97302DC-DD97-4C76-B318-546711B598D7}"/>
                </a:ext>
              </a:extLst>
            </p:cNvPr>
            <p:cNvCxnSpPr/>
            <p:nvPr/>
          </p:nvCxnSpPr>
          <p:spPr>
            <a:xfrm flipV="1">
              <a:off x="2862263" y="3389313"/>
              <a:ext cx="0" cy="9525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216CFEBB-FD08-4BF6-B853-64809D93DB62}"/>
                </a:ext>
              </a:extLst>
            </p:cNvPr>
            <p:cNvCxnSpPr/>
            <p:nvPr/>
          </p:nvCxnSpPr>
          <p:spPr>
            <a:xfrm flipH="1">
              <a:off x="2805113" y="3389313"/>
              <a:ext cx="5715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23A4996-7902-4B1B-AFEC-A8AC63E8D375}"/>
                </a:ext>
              </a:extLst>
            </p:cNvPr>
            <p:cNvCxnSpPr/>
            <p:nvPr/>
          </p:nvCxnSpPr>
          <p:spPr>
            <a:xfrm flipV="1">
              <a:off x="2805113" y="3336925"/>
              <a:ext cx="0" cy="52388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98025FD-BE60-46C9-BFB0-C553FEC4DDBA}"/>
                </a:ext>
              </a:extLst>
            </p:cNvPr>
            <p:cNvCxnSpPr/>
            <p:nvPr/>
          </p:nvCxnSpPr>
          <p:spPr>
            <a:xfrm flipH="1">
              <a:off x="2576513" y="3336925"/>
              <a:ext cx="22860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F0A6E21-7913-4EA2-B413-3A6D939A7020}"/>
                </a:ext>
              </a:extLst>
            </p:cNvPr>
            <p:cNvCxnSpPr/>
            <p:nvPr/>
          </p:nvCxnSpPr>
          <p:spPr>
            <a:xfrm flipV="1">
              <a:off x="2576513" y="3286125"/>
              <a:ext cx="0" cy="5080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14C912F-2919-4BE8-AFF0-E36EA482C94D}"/>
                </a:ext>
              </a:extLst>
            </p:cNvPr>
            <p:cNvCxnSpPr/>
            <p:nvPr/>
          </p:nvCxnSpPr>
          <p:spPr>
            <a:xfrm flipH="1">
              <a:off x="2403475" y="3286125"/>
              <a:ext cx="173038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4FC94206-3780-4218-A8CB-132E2DCAFE03}"/>
                </a:ext>
              </a:extLst>
            </p:cNvPr>
            <p:cNvCxnSpPr/>
            <p:nvPr/>
          </p:nvCxnSpPr>
          <p:spPr>
            <a:xfrm flipV="1">
              <a:off x="2403475" y="3238500"/>
              <a:ext cx="0" cy="47625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E918117D-3031-4352-A32A-914E8987AF29}"/>
                </a:ext>
              </a:extLst>
            </p:cNvPr>
            <p:cNvCxnSpPr/>
            <p:nvPr/>
          </p:nvCxnSpPr>
          <p:spPr>
            <a:xfrm flipH="1">
              <a:off x="2381251" y="3238500"/>
              <a:ext cx="22224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0A9808BE-776A-489C-88C8-9494A9E30465}"/>
                </a:ext>
              </a:extLst>
            </p:cNvPr>
            <p:cNvCxnSpPr/>
            <p:nvPr/>
          </p:nvCxnSpPr>
          <p:spPr>
            <a:xfrm flipV="1">
              <a:off x="2381251" y="3182938"/>
              <a:ext cx="0" cy="55562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C4A1741-405C-4433-9BF5-C13956CED812}"/>
                </a:ext>
              </a:extLst>
            </p:cNvPr>
            <p:cNvCxnSpPr/>
            <p:nvPr/>
          </p:nvCxnSpPr>
          <p:spPr>
            <a:xfrm flipH="1">
              <a:off x="2239963" y="3182938"/>
              <a:ext cx="141288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B819704B-34B3-4735-8FF8-5FBAF12444C4}"/>
                </a:ext>
              </a:extLst>
            </p:cNvPr>
            <p:cNvCxnSpPr/>
            <p:nvPr/>
          </p:nvCxnSpPr>
          <p:spPr>
            <a:xfrm flipV="1">
              <a:off x="2238375" y="3116263"/>
              <a:ext cx="0" cy="66675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D2F636E9-ADED-4D46-AD32-97A5EE7E6D4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97088" y="3116263"/>
              <a:ext cx="142876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84B5B0F1-1D9A-40D5-8516-D797D791F0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97088" y="3070228"/>
              <a:ext cx="0" cy="46036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72497908-DEAB-4C0E-8EF7-216FD82D99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68514" y="3065463"/>
              <a:ext cx="28574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6DCB82A-92A5-4FE7-93B4-A085C8F261F9}"/>
                </a:ext>
              </a:extLst>
            </p:cNvPr>
            <p:cNvCxnSpPr/>
            <p:nvPr/>
          </p:nvCxnSpPr>
          <p:spPr>
            <a:xfrm flipV="1">
              <a:off x="2068513" y="3032125"/>
              <a:ext cx="0" cy="30163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C7BCBFE7-8EBA-42CA-A7C1-34B036CC3F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68513" y="2967040"/>
              <a:ext cx="0" cy="65086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041AA9D-5B4E-4F6F-A50E-71049131812D}"/>
                </a:ext>
              </a:extLst>
            </p:cNvPr>
            <p:cNvCxnSpPr/>
            <p:nvPr/>
          </p:nvCxnSpPr>
          <p:spPr>
            <a:xfrm flipH="1">
              <a:off x="1955800" y="2967041"/>
              <a:ext cx="112713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63CB2355-FE67-4F7C-89A4-D3363C414ABA}"/>
                </a:ext>
              </a:extLst>
            </p:cNvPr>
            <p:cNvCxnSpPr/>
            <p:nvPr/>
          </p:nvCxnSpPr>
          <p:spPr>
            <a:xfrm flipH="1">
              <a:off x="1905000" y="2967040"/>
              <a:ext cx="52388" cy="0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00FD7F5-F7AB-4139-8C29-DEEB204EE9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3413" y="2954343"/>
              <a:ext cx="1587" cy="12698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9FF4C11-E741-4038-9061-0D32F9731C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82763" y="2954343"/>
              <a:ext cx="122238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9AE73EA5-21EE-4756-8EA5-0370A52509AA}"/>
                </a:ext>
              </a:extLst>
            </p:cNvPr>
            <p:cNvCxnSpPr/>
            <p:nvPr/>
          </p:nvCxnSpPr>
          <p:spPr>
            <a:xfrm flipV="1">
              <a:off x="1773238" y="2913063"/>
              <a:ext cx="0" cy="46037"/>
            </a:xfrm>
            <a:prstGeom prst="line">
              <a:avLst/>
            </a:prstGeom>
            <a:ln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B643D92-A7A3-4BC9-9120-8B2DDFCDFA2F}"/>
                </a:ext>
              </a:extLst>
            </p:cNvPr>
            <p:cNvCxnSpPr/>
            <p:nvPr/>
          </p:nvCxnSpPr>
          <p:spPr>
            <a:xfrm flipH="1">
              <a:off x="1528763" y="2916238"/>
              <a:ext cx="241300" cy="0"/>
            </a:xfrm>
            <a:prstGeom prst="line">
              <a:avLst/>
            </a:prstGeom>
            <a:ln cap="sq">
              <a:solidFill>
                <a:srgbClr val="ED7D31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09E1BAA6-5E1A-449E-B535-A55EE7EF63FB}"/>
                </a:ext>
              </a:extLst>
            </p:cNvPr>
            <p:cNvCxnSpPr/>
            <p:nvPr/>
          </p:nvCxnSpPr>
          <p:spPr>
            <a:xfrm flipH="1">
              <a:off x="4965700" y="4681538"/>
              <a:ext cx="603250" cy="0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0261987B-D2A7-4E73-ABF7-4D94BF11FFBF}"/>
                </a:ext>
              </a:extLst>
            </p:cNvPr>
            <p:cNvCxnSpPr/>
            <p:nvPr/>
          </p:nvCxnSpPr>
          <p:spPr>
            <a:xfrm flipV="1">
              <a:off x="4967288" y="4410075"/>
              <a:ext cx="0" cy="268288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C974DE70-19A7-48C0-8A2C-6F738361C18A}"/>
                </a:ext>
              </a:extLst>
            </p:cNvPr>
            <p:cNvCxnSpPr/>
            <p:nvPr/>
          </p:nvCxnSpPr>
          <p:spPr>
            <a:xfrm flipH="1">
              <a:off x="4786313" y="4410075"/>
              <a:ext cx="179387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CA204E7E-15EF-4099-B512-6AB9F707A31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87900" y="4284664"/>
              <a:ext cx="1" cy="125412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7E70BD36-49A2-42ED-9680-FD20C29B57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30738" y="4281488"/>
              <a:ext cx="155575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E6F5D75-76FA-4B5E-881D-DCFDA519918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24388" y="4195763"/>
              <a:ext cx="3175" cy="8255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A0D492B-FABF-4580-B646-009D4247576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1202" y="4195763"/>
              <a:ext cx="98423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DE21A45-6FDD-444B-8365-862F4DE29631}"/>
                </a:ext>
              </a:extLst>
            </p:cNvPr>
            <p:cNvCxnSpPr/>
            <p:nvPr/>
          </p:nvCxnSpPr>
          <p:spPr>
            <a:xfrm flipV="1">
              <a:off x="4514850" y="4116388"/>
              <a:ext cx="0" cy="79375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E5ABACD-7FC3-41E7-B2BA-CBF69DFD2AF6}"/>
                </a:ext>
              </a:extLst>
            </p:cNvPr>
            <p:cNvCxnSpPr/>
            <p:nvPr/>
          </p:nvCxnSpPr>
          <p:spPr>
            <a:xfrm flipH="1">
              <a:off x="4406902" y="4116388"/>
              <a:ext cx="114300" cy="0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419B315-78A2-4E71-98A5-5344422E75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08486" y="4054471"/>
              <a:ext cx="0" cy="61917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469DC5F-6B6D-4C49-9355-75B5FBDFD9E8}"/>
                </a:ext>
              </a:extLst>
            </p:cNvPr>
            <p:cNvCxnSpPr/>
            <p:nvPr/>
          </p:nvCxnSpPr>
          <p:spPr>
            <a:xfrm flipH="1">
              <a:off x="4394199" y="4054477"/>
              <a:ext cx="14287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2A3219C9-8AA1-49C9-AB55-DBFFE6AE82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92616" y="3994150"/>
              <a:ext cx="0" cy="58739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E4D0B6E9-1904-418D-AA6C-ED9837D1D90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54489" y="3994150"/>
              <a:ext cx="236534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FD22D12A-30E4-4216-A35A-169A05791E4F}"/>
                </a:ext>
              </a:extLst>
            </p:cNvPr>
            <p:cNvCxnSpPr/>
            <p:nvPr/>
          </p:nvCxnSpPr>
          <p:spPr>
            <a:xfrm flipV="1">
              <a:off x="4141788" y="3933825"/>
              <a:ext cx="0" cy="60325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111F2D6-2435-4836-A473-0F0189197EDB}"/>
                </a:ext>
              </a:extLst>
            </p:cNvPr>
            <p:cNvCxnSpPr/>
            <p:nvPr/>
          </p:nvCxnSpPr>
          <p:spPr>
            <a:xfrm flipH="1">
              <a:off x="4122738" y="3933825"/>
              <a:ext cx="15875" cy="0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5387B2B8-4F17-42CB-AA6D-CAC1635DEB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2738" y="3833813"/>
              <a:ext cx="0" cy="100012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8535222-8403-44F0-A63E-9FC8CFD6962C}"/>
                </a:ext>
              </a:extLst>
            </p:cNvPr>
            <p:cNvCxnSpPr/>
            <p:nvPr/>
          </p:nvCxnSpPr>
          <p:spPr>
            <a:xfrm flipH="1">
              <a:off x="4089400" y="3835400"/>
              <a:ext cx="33338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C07D287-A211-4B5A-8156-2F1A613CAA07}"/>
                </a:ext>
              </a:extLst>
            </p:cNvPr>
            <p:cNvCxnSpPr/>
            <p:nvPr/>
          </p:nvCxnSpPr>
          <p:spPr>
            <a:xfrm flipV="1">
              <a:off x="4089400" y="3811588"/>
              <a:ext cx="0" cy="22225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A886330-53EF-4BF1-981A-5FA3F4029852}"/>
                </a:ext>
              </a:extLst>
            </p:cNvPr>
            <p:cNvCxnSpPr/>
            <p:nvPr/>
          </p:nvCxnSpPr>
          <p:spPr>
            <a:xfrm flipH="1">
              <a:off x="4071938" y="3811588"/>
              <a:ext cx="17462" cy="0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A907D34-376F-4712-A055-BF83F34BCD7A}"/>
                </a:ext>
              </a:extLst>
            </p:cNvPr>
            <p:cNvCxnSpPr/>
            <p:nvPr/>
          </p:nvCxnSpPr>
          <p:spPr>
            <a:xfrm flipV="1">
              <a:off x="4071938" y="3736975"/>
              <a:ext cx="0" cy="74613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C2F8BC38-6462-4E26-B413-7D2083FD9C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46513" y="3736975"/>
              <a:ext cx="225426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86487DA-F2D4-4D68-9217-BE926F2BE772}"/>
                </a:ext>
              </a:extLst>
            </p:cNvPr>
            <p:cNvCxnSpPr/>
            <p:nvPr/>
          </p:nvCxnSpPr>
          <p:spPr>
            <a:xfrm flipV="1">
              <a:off x="3849688" y="3702050"/>
              <a:ext cx="0" cy="34925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D575FAA-EF6F-416B-B582-30B1693B2813}"/>
                </a:ext>
              </a:extLst>
            </p:cNvPr>
            <p:cNvCxnSpPr/>
            <p:nvPr/>
          </p:nvCxnSpPr>
          <p:spPr>
            <a:xfrm flipH="1">
              <a:off x="3767138" y="3702050"/>
              <a:ext cx="79375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8BD813E8-D138-49D8-8E20-C1C2D7DC59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67138" y="3662364"/>
              <a:ext cx="0" cy="39687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2F96BDF-62B9-4367-BBA9-993C0C14B819}"/>
                </a:ext>
              </a:extLst>
            </p:cNvPr>
            <p:cNvCxnSpPr/>
            <p:nvPr/>
          </p:nvCxnSpPr>
          <p:spPr>
            <a:xfrm flipH="1">
              <a:off x="3729038" y="3663950"/>
              <a:ext cx="38100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FFB583F9-F098-46EF-BFAD-95E2476C8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27450" y="3632200"/>
              <a:ext cx="0" cy="30164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CF9A664A-8A61-471B-9A87-BC62693A9FE3}"/>
                </a:ext>
              </a:extLst>
            </p:cNvPr>
            <p:cNvCxnSpPr/>
            <p:nvPr/>
          </p:nvCxnSpPr>
          <p:spPr>
            <a:xfrm flipH="1">
              <a:off x="3660775" y="3624263"/>
              <a:ext cx="68263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8E06BA79-C319-420D-AA17-4AD14294E3C5}"/>
                </a:ext>
              </a:extLst>
            </p:cNvPr>
            <p:cNvCxnSpPr/>
            <p:nvPr/>
          </p:nvCxnSpPr>
          <p:spPr>
            <a:xfrm flipV="1">
              <a:off x="3659188" y="3597275"/>
              <a:ext cx="0" cy="22225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C64D4BBA-F721-4DCC-B7B9-D31927701FFC}"/>
                </a:ext>
              </a:extLst>
            </p:cNvPr>
            <p:cNvCxnSpPr/>
            <p:nvPr/>
          </p:nvCxnSpPr>
          <p:spPr>
            <a:xfrm flipH="1">
              <a:off x="3623733" y="3598863"/>
              <a:ext cx="37042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C896C114-8363-43C9-84EE-4A55B650A6C3}"/>
                </a:ext>
              </a:extLst>
            </p:cNvPr>
            <p:cNvCxnSpPr/>
            <p:nvPr/>
          </p:nvCxnSpPr>
          <p:spPr>
            <a:xfrm flipV="1">
              <a:off x="3623733" y="3563938"/>
              <a:ext cx="0" cy="33337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399D9485-8669-4976-B460-09B3EEFFD67A}"/>
                </a:ext>
              </a:extLst>
            </p:cNvPr>
            <p:cNvCxnSpPr/>
            <p:nvPr/>
          </p:nvCxnSpPr>
          <p:spPr>
            <a:xfrm flipH="1">
              <a:off x="3540125" y="3563938"/>
              <a:ext cx="83608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1E06AC96-0ECF-47E7-8B00-8B784BDC0B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38538" y="3541715"/>
              <a:ext cx="1587" cy="22224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5FF732C-0E58-45BE-8801-C1AA971DD6FA}"/>
                </a:ext>
              </a:extLst>
            </p:cNvPr>
            <p:cNvCxnSpPr/>
            <p:nvPr/>
          </p:nvCxnSpPr>
          <p:spPr>
            <a:xfrm flipH="1">
              <a:off x="3494088" y="3541715"/>
              <a:ext cx="46037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201483-5893-4C60-9FD8-C20DFDEBBD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94088" y="3519487"/>
              <a:ext cx="0" cy="22228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57122060-AE21-4017-8E75-761DDB75C28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65514" y="3519487"/>
              <a:ext cx="28574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C9A11932-8A5A-408C-9748-3CA3B92CB8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65514" y="3494091"/>
              <a:ext cx="0" cy="25396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A9996EE7-DC91-42F3-BAB3-FE96EF78380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08363" y="3494091"/>
              <a:ext cx="57152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BB6BF15E-BE8F-496D-998C-207F71B995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06772" y="3467100"/>
              <a:ext cx="0" cy="22228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870A28F-783A-4317-AAEC-15CE6BAAA1BB}"/>
                </a:ext>
              </a:extLst>
            </p:cNvPr>
            <p:cNvCxnSpPr/>
            <p:nvPr/>
          </p:nvCxnSpPr>
          <p:spPr>
            <a:xfrm flipH="1">
              <a:off x="3378200" y="3468688"/>
              <a:ext cx="30163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520D597F-BEBC-4242-8356-586D09C51636}"/>
                </a:ext>
              </a:extLst>
            </p:cNvPr>
            <p:cNvCxnSpPr/>
            <p:nvPr/>
          </p:nvCxnSpPr>
          <p:spPr>
            <a:xfrm flipV="1">
              <a:off x="3378200" y="3429000"/>
              <a:ext cx="0" cy="3810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7ADCB705-BFEC-4407-837F-598D6FC29601}"/>
                </a:ext>
              </a:extLst>
            </p:cNvPr>
            <p:cNvCxnSpPr/>
            <p:nvPr/>
          </p:nvCxnSpPr>
          <p:spPr>
            <a:xfrm flipH="1">
              <a:off x="3349625" y="3429000"/>
              <a:ext cx="28575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CC29C98B-3605-4416-A80A-9EBB6B152259}"/>
                </a:ext>
              </a:extLst>
            </p:cNvPr>
            <p:cNvCxnSpPr/>
            <p:nvPr/>
          </p:nvCxnSpPr>
          <p:spPr>
            <a:xfrm flipV="1">
              <a:off x="3349625" y="3389313"/>
              <a:ext cx="0" cy="39687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98FCAB7E-F437-4C9B-8DEF-52C7CBADE3BF}"/>
                </a:ext>
              </a:extLst>
            </p:cNvPr>
            <p:cNvCxnSpPr/>
            <p:nvPr/>
          </p:nvCxnSpPr>
          <p:spPr>
            <a:xfrm flipH="1">
              <a:off x="3260725" y="3389313"/>
              <a:ext cx="88900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138F2B17-A22B-4D69-B72C-0FB0797417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60725" y="3378200"/>
              <a:ext cx="0" cy="11114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1EEE0F56-68BA-47F0-A7E9-3E9D81523258}"/>
                </a:ext>
              </a:extLst>
            </p:cNvPr>
            <p:cNvCxnSpPr/>
            <p:nvPr/>
          </p:nvCxnSpPr>
          <p:spPr>
            <a:xfrm flipH="1">
              <a:off x="3238500" y="3378200"/>
              <a:ext cx="22225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51B6F3FF-69D8-46C4-9BC4-6E0B0F23099B}"/>
                </a:ext>
              </a:extLst>
            </p:cNvPr>
            <p:cNvCxnSpPr/>
            <p:nvPr/>
          </p:nvCxnSpPr>
          <p:spPr>
            <a:xfrm flipV="1">
              <a:off x="3238500" y="3336925"/>
              <a:ext cx="0" cy="41275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CEA408B2-49BC-4073-998C-33866B42EBAC}"/>
                </a:ext>
              </a:extLst>
            </p:cNvPr>
            <p:cNvCxnSpPr/>
            <p:nvPr/>
          </p:nvCxnSpPr>
          <p:spPr>
            <a:xfrm flipH="1">
              <a:off x="3100388" y="3336925"/>
              <a:ext cx="138112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3AF9BA58-4F58-4CC2-8C01-4E19C435ACCB}"/>
                </a:ext>
              </a:extLst>
            </p:cNvPr>
            <p:cNvCxnSpPr/>
            <p:nvPr/>
          </p:nvCxnSpPr>
          <p:spPr>
            <a:xfrm flipV="1">
              <a:off x="3100388" y="3300413"/>
              <a:ext cx="0" cy="36512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C9C52574-50A4-4753-81FE-48611E5B2053}"/>
                </a:ext>
              </a:extLst>
            </p:cNvPr>
            <p:cNvCxnSpPr/>
            <p:nvPr/>
          </p:nvCxnSpPr>
          <p:spPr>
            <a:xfrm flipH="1">
              <a:off x="3030539" y="3300413"/>
              <a:ext cx="69849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D5B38CE7-CFCB-4076-B408-A6A980F4C74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30539" y="3270250"/>
              <a:ext cx="0" cy="30163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52610882-943C-4C95-9723-B5C23858ED37}"/>
                </a:ext>
              </a:extLst>
            </p:cNvPr>
            <p:cNvCxnSpPr/>
            <p:nvPr/>
          </p:nvCxnSpPr>
          <p:spPr>
            <a:xfrm flipH="1">
              <a:off x="2882900" y="3270250"/>
              <a:ext cx="147639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892E0E47-897E-4F1F-98BC-EA79BD3DFA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2900" y="3214685"/>
              <a:ext cx="0" cy="55565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289456F7-7879-4F3C-9F2A-EDD5DCDDD123}"/>
                </a:ext>
              </a:extLst>
            </p:cNvPr>
            <p:cNvCxnSpPr/>
            <p:nvPr/>
          </p:nvCxnSpPr>
          <p:spPr>
            <a:xfrm flipH="1">
              <a:off x="2794000" y="3217863"/>
              <a:ext cx="88900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C603B720-763F-4516-81E4-215857994F5C}"/>
                </a:ext>
              </a:extLst>
            </p:cNvPr>
            <p:cNvCxnSpPr/>
            <p:nvPr/>
          </p:nvCxnSpPr>
          <p:spPr>
            <a:xfrm flipV="1">
              <a:off x="2794000" y="3195638"/>
              <a:ext cx="0" cy="19047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FD8233E6-CEDB-4556-96BA-816872A2F2A3}"/>
                </a:ext>
              </a:extLst>
            </p:cNvPr>
            <p:cNvCxnSpPr/>
            <p:nvPr/>
          </p:nvCxnSpPr>
          <p:spPr>
            <a:xfrm flipH="1">
              <a:off x="2643188" y="3195638"/>
              <a:ext cx="150812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8BF8A985-FBDB-453F-AA2D-C25EAC5B6F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41600" y="3165476"/>
              <a:ext cx="0" cy="30163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11BA9E19-A6A3-42CD-AF00-5900B643924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76513" y="3105150"/>
              <a:ext cx="66676" cy="60326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379533CB-7107-44C8-90D5-572AB87B6638}"/>
                </a:ext>
              </a:extLst>
            </p:cNvPr>
            <p:cNvCxnSpPr/>
            <p:nvPr/>
          </p:nvCxnSpPr>
          <p:spPr>
            <a:xfrm flipH="1">
              <a:off x="2535238" y="3101975"/>
              <a:ext cx="41275" cy="0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263AFC5A-E175-413C-8871-B48D543801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32063" y="3070228"/>
              <a:ext cx="0" cy="35712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89A648D0-E2D7-4205-8381-49EDB98C6F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81252" y="3070228"/>
              <a:ext cx="150811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2A90D65F-5F74-43A7-A95A-907597021F3E}"/>
                </a:ext>
              </a:extLst>
            </p:cNvPr>
            <p:cNvCxnSpPr/>
            <p:nvPr/>
          </p:nvCxnSpPr>
          <p:spPr>
            <a:xfrm flipV="1">
              <a:off x="2381251" y="3046413"/>
              <a:ext cx="0" cy="33337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7323C48-F844-4E37-9526-7C00C3D5A472}"/>
                </a:ext>
              </a:extLst>
            </p:cNvPr>
            <p:cNvCxnSpPr/>
            <p:nvPr/>
          </p:nvCxnSpPr>
          <p:spPr>
            <a:xfrm flipH="1">
              <a:off x="2303463" y="3046413"/>
              <a:ext cx="77788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694184FF-C394-4466-BFF1-032E1AE65C08}"/>
                </a:ext>
              </a:extLst>
            </p:cNvPr>
            <p:cNvCxnSpPr/>
            <p:nvPr/>
          </p:nvCxnSpPr>
          <p:spPr>
            <a:xfrm flipV="1">
              <a:off x="2303463" y="3032125"/>
              <a:ext cx="0" cy="14288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3E2B111D-9512-4CAD-9E79-894CCA4D10D1}"/>
                </a:ext>
              </a:extLst>
            </p:cNvPr>
            <p:cNvCxnSpPr/>
            <p:nvPr/>
          </p:nvCxnSpPr>
          <p:spPr>
            <a:xfrm flipH="1">
              <a:off x="2252663" y="3032125"/>
              <a:ext cx="50800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FD06DE51-8303-46BC-BF64-B627F8BAE99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52663" y="3013078"/>
              <a:ext cx="3175" cy="19048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0C502A28-7CE6-43F2-B57C-650CAB445B5F}"/>
                </a:ext>
              </a:extLst>
            </p:cNvPr>
            <p:cNvCxnSpPr/>
            <p:nvPr/>
          </p:nvCxnSpPr>
          <p:spPr>
            <a:xfrm flipH="1">
              <a:off x="1770063" y="3013078"/>
              <a:ext cx="482600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D5E5C3DF-2BF7-4FE9-A228-029010D6EDEF}"/>
                </a:ext>
              </a:extLst>
            </p:cNvPr>
            <p:cNvCxnSpPr>
              <a:cxnSpLocks/>
            </p:cNvCxnSpPr>
            <p:nvPr/>
          </p:nvCxnSpPr>
          <p:spPr>
            <a:xfrm>
              <a:off x="1770063" y="2992438"/>
              <a:ext cx="0" cy="2064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018AE78-8CA3-4DF3-B633-2518BC145E9F}"/>
                </a:ext>
              </a:extLst>
            </p:cNvPr>
            <p:cNvCxnSpPr/>
            <p:nvPr/>
          </p:nvCxnSpPr>
          <p:spPr>
            <a:xfrm flipH="1">
              <a:off x="1714500" y="2992438"/>
              <a:ext cx="55563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8A1C7C8E-ACCC-42DE-A63D-E086EFB6D48D}"/>
                </a:ext>
              </a:extLst>
            </p:cNvPr>
            <p:cNvCxnSpPr/>
            <p:nvPr/>
          </p:nvCxnSpPr>
          <p:spPr>
            <a:xfrm flipV="1">
              <a:off x="1714500" y="2954343"/>
              <a:ext cx="0" cy="44445"/>
            </a:xfrm>
            <a:prstGeom prst="line">
              <a:avLst/>
            </a:prstGeom>
            <a:ln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02ADD947-449C-463F-91A8-C2E8FB1E842C}"/>
                </a:ext>
              </a:extLst>
            </p:cNvPr>
            <p:cNvCxnSpPr/>
            <p:nvPr/>
          </p:nvCxnSpPr>
          <p:spPr>
            <a:xfrm flipH="1">
              <a:off x="1670050" y="2954343"/>
              <a:ext cx="44450" cy="0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E4F57486-A289-4480-BA57-EC0834E13134}"/>
                </a:ext>
              </a:extLst>
            </p:cNvPr>
            <p:cNvCxnSpPr/>
            <p:nvPr/>
          </p:nvCxnSpPr>
          <p:spPr>
            <a:xfrm flipV="1">
              <a:off x="1666875" y="2901950"/>
              <a:ext cx="0" cy="52393"/>
            </a:xfrm>
            <a:prstGeom prst="line">
              <a:avLst/>
            </a:prstGeom>
            <a:ln cap="sq">
              <a:solidFill>
                <a:srgbClr val="F4B183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BDFAB557-9ACC-41AE-AC70-67701883E9F8}"/>
                </a:ext>
              </a:extLst>
            </p:cNvPr>
            <p:cNvCxnSpPr/>
            <p:nvPr/>
          </p:nvCxnSpPr>
          <p:spPr>
            <a:xfrm flipH="1">
              <a:off x="5435600" y="4195763"/>
              <a:ext cx="177800" cy="0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DD8EDCA8-7637-4E59-98A9-22E705C5C2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35600" y="4156075"/>
              <a:ext cx="0" cy="39688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12B2F549-D99F-4D89-977E-174519A9E7C6}"/>
                </a:ext>
              </a:extLst>
            </p:cNvPr>
            <p:cNvCxnSpPr/>
            <p:nvPr/>
          </p:nvCxnSpPr>
          <p:spPr>
            <a:xfrm flipH="1">
              <a:off x="5238750" y="4148138"/>
              <a:ext cx="196850" cy="0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03CCFCF-0A08-4FCB-8FC9-4D9CFCE10D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37163" y="4116388"/>
              <a:ext cx="0" cy="28575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83AB4060-0B7A-453C-A1C6-F71472512A5B}"/>
                </a:ext>
              </a:extLst>
            </p:cNvPr>
            <p:cNvCxnSpPr/>
            <p:nvPr/>
          </p:nvCxnSpPr>
          <p:spPr>
            <a:xfrm flipH="1">
              <a:off x="5114925" y="4116388"/>
              <a:ext cx="123825" cy="0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2F24B6CB-E80B-4377-A435-631344E0B65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114925" y="4040188"/>
              <a:ext cx="1588" cy="76200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8FB3D9DF-FB7E-4853-8C8B-0C68E8C6F2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964112" y="4033838"/>
              <a:ext cx="150814" cy="1589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AA21F79B-8070-4E4A-99FA-682564F47C0A}"/>
                </a:ext>
              </a:extLst>
            </p:cNvPr>
            <p:cNvCxnSpPr/>
            <p:nvPr/>
          </p:nvCxnSpPr>
          <p:spPr>
            <a:xfrm flipV="1">
              <a:off x="4965700" y="4006850"/>
              <a:ext cx="0" cy="33338"/>
            </a:xfrm>
            <a:prstGeom prst="line">
              <a:avLst/>
            </a:prstGeom>
            <a:ln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BAF4A232-975F-4325-B65B-53ED028AB498}"/>
                </a:ext>
              </a:extLst>
            </p:cNvPr>
            <p:cNvCxnSpPr/>
            <p:nvPr/>
          </p:nvCxnSpPr>
          <p:spPr>
            <a:xfrm flipH="1">
              <a:off x="4868862" y="4013202"/>
              <a:ext cx="95250" cy="0"/>
            </a:xfrm>
            <a:prstGeom prst="line">
              <a:avLst/>
            </a:prstGeom>
            <a:ln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05E1748-4034-4771-827E-1D4C8C9C4F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70450" y="3976689"/>
              <a:ext cx="0" cy="36513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04132DC9-EFCB-4377-B54F-BA1F18498831}"/>
                </a:ext>
              </a:extLst>
            </p:cNvPr>
            <p:cNvSpPr/>
            <p:nvPr/>
          </p:nvSpPr>
          <p:spPr>
            <a:xfrm>
              <a:off x="2762250" y="3149600"/>
              <a:ext cx="2111375" cy="831850"/>
            </a:xfrm>
            <a:custGeom>
              <a:avLst/>
              <a:gdLst>
                <a:gd name="connsiteX0" fmla="*/ 0 w 2111375"/>
                <a:gd name="connsiteY0" fmla="*/ 0 h 831850"/>
                <a:gd name="connsiteX1" fmla="*/ 28575 w 2111375"/>
                <a:gd name="connsiteY1" fmla="*/ 3175 h 831850"/>
                <a:gd name="connsiteX2" fmla="*/ 57150 w 2111375"/>
                <a:gd name="connsiteY2" fmla="*/ 15875 h 831850"/>
                <a:gd name="connsiteX3" fmla="*/ 76200 w 2111375"/>
                <a:gd name="connsiteY3" fmla="*/ 22225 h 831850"/>
                <a:gd name="connsiteX4" fmla="*/ 85725 w 2111375"/>
                <a:gd name="connsiteY4" fmla="*/ 25400 h 831850"/>
                <a:gd name="connsiteX5" fmla="*/ 95250 w 2111375"/>
                <a:gd name="connsiteY5" fmla="*/ 31750 h 831850"/>
                <a:gd name="connsiteX6" fmla="*/ 127000 w 2111375"/>
                <a:gd name="connsiteY6" fmla="*/ 41275 h 831850"/>
                <a:gd name="connsiteX7" fmla="*/ 136525 w 2111375"/>
                <a:gd name="connsiteY7" fmla="*/ 44450 h 831850"/>
                <a:gd name="connsiteX8" fmla="*/ 146050 w 2111375"/>
                <a:gd name="connsiteY8" fmla="*/ 50800 h 831850"/>
                <a:gd name="connsiteX9" fmla="*/ 177800 w 2111375"/>
                <a:gd name="connsiteY9" fmla="*/ 53975 h 831850"/>
                <a:gd name="connsiteX10" fmla="*/ 196850 w 2111375"/>
                <a:gd name="connsiteY10" fmla="*/ 60325 h 831850"/>
                <a:gd name="connsiteX11" fmla="*/ 206375 w 2111375"/>
                <a:gd name="connsiteY11" fmla="*/ 69850 h 831850"/>
                <a:gd name="connsiteX12" fmla="*/ 219075 w 2111375"/>
                <a:gd name="connsiteY12" fmla="*/ 73025 h 831850"/>
                <a:gd name="connsiteX13" fmla="*/ 247650 w 2111375"/>
                <a:gd name="connsiteY13" fmla="*/ 82550 h 831850"/>
                <a:gd name="connsiteX14" fmla="*/ 295275 w 2111375"/>
                <a:gd name="connsiteY14" fmla="*/ 98425 h 831850"/>
                <a:gd name="connsiteX15" fmla="*/ 314325 w 2111375"/>
                <a:gd name="connsiteY15" fmla="*/ 104775 h 831850"/>
                <a:gd name="connsiteX16" fmla="*/ 323850 w 2111375"/>
                <a:gd name="connsiteY16" fmla="*/ 107950 h 831850"/>
                <a:gd name="connsiteX17" fmla="*/ 349250 w 2111375"/>
                <a:gd name="connsiteY17" fmla="*/ 114300 h 831850"/>
                <a:gd name="connsiteX18" fmla="*/ 368300 w 2111375"/>
                <a:gd name="connsiteY18" fmla="*/ 120650 h 831850"/>
                <a:gd name="connsiteX19" fmla="*/ 381000 w 2111375"/>
                <a:gd name="connsiteY19" fmla="*/ 123825 h 831850"/>
                <a:gd name="connsiteX20" fmla="*/ 400050 w 2111375"/>
                <a:gd name="connsiteY20" fmla="*/ 130175 h 831850"/>
                <a:gd name="connsiteX21" fmla="*/ 409575 w 2111375"/>
                <a:gd name="connsiteY21" fmla="*/ 133350 h 831850"/>
                <a:gd name="connsiteX22" fmla="*/ 441325 w 2111375"/>
                <a:gd name="connsiteY22" fmla="*/ 142875 h 831850"/>
                <a:gd name="connsiteX23" fmla="*/ 450850 w 2111375"/>
                <a:gd name="connsiteY23" fmla="*/ 146050 h 831850"/>
                <a:gd name="connsiteX24" fmla="*/ 469900 w 2111375"/>
                <a:gd name="connsiteY24" fmla="*/ 158750 h 831850"/>
                <a:gd name="connsiteX25" fmla="*/ 492125 w 2111375"/>
                <a:gd name="connsiteY25" fmla="*/ 165100 h 831850"/>
                <a:gd name="connsiteX26" fmla="*/ 511175 w 2111375"/>
                <a:gd name="connsiteY26" fmla="*/ 171450 h 831850"/>
                <a:gd name="connsiteX27" fmla="*/ 530225 w 2111375"/>
                <a:gd name="connsiteY27" fmla="*/ 177800 h 831850"/>
                <a:gd name="connsiteX28" fmla="*/ 539750 w 2111375"/>
                <a:gd name="connsiteY28" fmla="*/ 180975 h 831850"/>
                <a:gd name="connsiteX29" fmla="*/ 549275 w 2111375"/>
                <a:gd name="connsiteY29" fmla="*/ 187325 h 831850"/>
                <a:gd name="connsiteX30" fmla="*/ 568325 w 2111375"/>
                <a:gd name="connsiteY30" fmla="*/ 193675 h 831850"/>
                <a:gd name="connsiteX31" fmla="*/ 587375 w 2111375"/>
                <a:gd name="connsiteY31" fmla="*/ 200025 h 831850"/>
                <a:gd name="connsiteX32" fmla="*/ 625475 w 2111375"/>
                <a:gd name="connsiteY32" fmla="*/ 212725 h 831850"/>
                <a:gd name="connsiteX33" fmla="*/ 635000 w 2111375"/>
                <a:gd name="connsiteY33" fmla="*/ 215900 h 831850"/>
                <a:gd name="connsiteX34" fmla="*/ 644525 w 2111375"/>
                <a:gd name="connsiteY34" fmla="*/ 219075 h 831850"/>
                <a:gd name="connsiteX35" fmla="*/ 666750 w 2111375"/>
                <a:gd name="connsiteY35" fmla="*/ 222250 h 831850"/>
                <a:gd name="connsiteX36" fmla="*/ 685800 w 2111375"/>
                <a:gd name="connsiteY36" fmla="*/ 228600 h 831850"/>
                <a:gd name="connsiteX37" fmla="*/ 698500 w 2111375"/>
                <a:gd name="connsiteY37" fmla="*/ 231775 h 831850"/>
                <a:gd name="connsiteX38" fmla="*/ 730250 w 2111375"/>
                <a:gd name="connsiteY38" fmla="*/ 241300 h 831850"/>
                <a:gd name="connsiteX39" fmla="*/ 749300 w 2111375"/>
                <a:gd name="connsiteY39" fmla="*/ 254000 h 831850"/>
                <a:gd name="connsiteX40" fmla="*/ 758825 w 2111375"/>
                <a:gd name="connsiteY40" fmla="*/ 257175 h 831850"/>
                <a:gd name="connsiteX41" fmla="*/ 777875 w 2111375"/>
                <a:gd name="connsiteY41" fmla="*/ 269875 h 831850"/>
                <a:gd name="connsiteX42" fmla="*/ 787400 w 2111375"/>
                <a:gd name="connsiteY42" fmla="*/ 276225 h 831850"/>
                <a:gd name="connsiteX43" fmla="*/ 806450 w 2111375"/>
                <a:gd name="connsiteY43" fmla="*/ 282575 h 831850"/>
                <a:gd name="connsiteX44" fmla="*/ 815975 w 2111375"/>
                <a:gd name="connsiteY44" fmla="*/ 288925 h 831850"/>
                <a:gd name="connsiteX45" fmla="*/ 835025 w 2111375"/>
                <a:gd name="connsiteY45" fmla="*/ 295275 h 831850"/>
                <a:gd name="connsiteX46" fmla="*/ 854075 w 2111375"/>
                <a:gd name="connsiteY46" fmla="*/ 301625 h 831850"/>
                <a:gd name="connsiteX47" fmla="*/ 863600 w 2111375"/>
                <a:gd name="connsiteY47" fmla="*/ 304800 h 831850"/>
                <a:gd name="connsiteX48" fmla="*/ 892175 w 2111375"/>
                <a:gd name="connsiteY48" fmla="*/ 317500 h 831850"/>
                <a:gd name="connsiteX49" fmla="*/ 901700 w 2111375"/>
                <a:gd name="connsiteY49" fmla="*/ 320675 h 831850"/>
                <a:gd name="connsiteX50" fmla="*/ 911225 w 2111375"/>
                <a:gd name="connsiteY50" fmla="*/ 327025 h 831850"/>
                <a:gd name="connsiteX51" fmla="*/ 939800 w 2111375"/>
                <a:gd name="connsiteY51" fmla="*/ 333375 h 831850"/>
                <a:gd name="connsiteX52" fmla="*/ 949325 w 2111375"/>
                <a:gd name="connsiteY52" fmla="*/ 336550 h 831850"/>
                <a:gd name="connsiteX53" fmla="*/ 968375 w 2111375"/>
                <a:gd name="connsiteY53" fmla="*/ 349250 h 831850"/>
                <a:gd name="connsiteX54" fmla="*/ 990600 w 2111375"/>
                <a:gd name="connsiteY54" fmla="*/ 355600 h 831850"/>
                <a:gd name="connsiteX55" fmla="*/ 1000125 w 2111375"/>
                <a:gd name="connsiteY55" fmla="*/ 361950 h 831850"/>
                <a:gd name="connsiteX56" fmla="*/ 1009650 w 2111375"/>
                <a:gd name="connsiteY56" fmla="*/ 365125 h 831850"/>
                <a:gd name="connsiteX57" fmla="*/ 1019175 w 2111375"/>
                <a:gd name="connsiteY57" fmla="*/ 371475 h 831850"/>
                <a:gd name="connsiteX58" fmla="*/ 1028700 w 2111375"/>
                <a:gd name="connsiteY58" fmla="*/ 374650 h 831850"/>
                <a:gd name="connsiteX59" fmla="*/ 1038225 w 2111375"/>
                <a:gd name="connsiteY59" fmla="*/ 381000 h 831850"/>
                <a:gd name="connsiteX60" fmla="*/ 1057275 w 2111375"/>
                <a:gd name="connsiteY60" fmla="*/ 387350 h 831850"/>
                <a:gd name="connsiteX61" fmla="*/ 1076325 w 2111375"/>
                <a:gd name="connsiteY61" fmla="*/ 400050 h 831850"/>
                <a:gd name="connsiteX62" fmla="*/ 1095375 w 2111375"/>
                <a:gd name="connsiteY62" fmla="*/ 406400 h 831850"/>
                <a:gd name="connsiteX63" fmla="*/ 1104900 w 2111375"/>
                <a:gd name="connsiteY63" fmla="*/ 409575 h 831850"/>
                <a:gd name="connsiteX64" fmla="*/ 1114425 w 2111375"/>
                <a:gd name="connsiteY64" fmla="*/ 415925 h 831850"/>
                <a:gd name="connsiteX65" fmla="*/ 1133475 w 2111375"/>
                <a:gd name="connsiteY65" fmla="*/ 422275 h 831850"/>
                <a:gd name="connsiteX66" fmla="*/ 1152525 w 2111375"/>
                <a:gd name="connsiteY66" fmla="*/ 428625 h 831850"/>
                <a:gd name="connsiteX67" fmla="*/ 1162050 w 2111375"/>
                <a:gd name="connsiteY67" fmla="*/ 431800 h 831850"/>
                <a:gd name="connsiteX68" fmla="*/ 1196975 w 2111375"/>
                <a:gd name="connsiteY68" fmla="*/ 444500 h 831850"/>
                <a:gd name="connsiteX69" fmla="*/ 1216025 w 2111375"/>
                <a:gd name="connsiteY69" fmla="*/ 450850 h 831850"/>
                <a:gd name="connsiteX70" fmla="*/ 1228725 w 2111375"/>
                <a:gd name="connsiteY70" fmla="*/ 460375 h 831850"/>
                <a:gd name="connsiteX71" fmla="*/ 1250950 w 2111375"/>
                <a:gd name="connsiteY71" fmla="*/ 466725 h 831850"/>
                <a:gd name="connsiteX72" fmla="*/ 1270000 w 2111375"/>
                <a:gd name="connsiteY72" fmla="*/ 479425 h 831850"/>
                <a:gd name="connsiteX73" fmla="*/ 1279525 w 2111375"/>
                <a:gd name="connsiteY73" fmla="*/ 482600 h 831850"/>
                <a:gd name="connsiteX74" fmla="*/ 1289050 w 2111375"/>
                <a:gd name="connsiteY74" fmla="*/ 488950 h 831850"/>
                <a:gd name="connsiteX75" fmla="*/ 1301750 w 2111375"/>
                <a:gd name="connsiteY75" fmla="*/ 498475 h 831850"/>
                <a:gd name="connsiteX76" fmla="*/ 1330325 w 2111375"/>
                <a:gd name="connsiteY76" fmla="*/ 508000 h 831850"/>
                <a:gd name="connsiteX77" fmla="*/ 1339850 w 2111375"/>
                <a:gd name="connsiteY77" fmla="*/ 511175 h 831850"/>
                <a:gd name="connsiteX78" fmla="*/ 1349375 w 2111375"/>
                <a:gd name="connsiteY78" fmla="*/ 517525 h 831850"/>
                <a:gd name="connsiteX79" fmla="*/ 1368425 w 2111375"/>
                <a:gd name="connsiteY79" fmla="*/ 523875 h 831850"/>
                <a:gd name="connsiteX80" fmla="*/ 1377950 w 2111375"/>
                <a:gd name="connsiteY80" fmla="*/ 527050 h 831850"/>
                <a:gd name="connsiteX81" fmla="*/ 1387475 w 2111375"/>
                <a:gd name="connsiteY81" fmla="*/ 533400 h 831850"/>
                <a:gd name="connsiteX82" fmla="*/ 1406525 w 2111375"/>
                <a:gd name="connsiteY82" fmla="*/ 539750 h 831850"/>
                <a:gd name="connsiteX83" fmla="*/ 1425575 w 2111375"/>
                <a:gd name="connsiteY83" fmla="*/ 549275 h 831850"/>
                <a:gd name="connsiteX84" fmla="*/ 1435100 w 2111375"/>
                <a:gd name="connsiteY84" fmla="*/ 555625 h 831850"/>
                <a:gd name="connsiteX85" fmla="*/ 1457325 w 2111375"/>
                <a:gd name="connsiteY85" fmla="*/ 561975 h 831850"/>
                <a:gd name="connsiteX86" fmla="*/ 1466850 w 2111375"/>
                <a:gd name="connsiteY86" fmla="*/ 568325 h 831850"/>
                <a:gd name="connsiteX87" fmla="*/ 1485900 w 2111375"/>
                <a:gd name="connsiteY87" fmla="*/ 574675 h 831850"/>
                <a:gd name="connsiteX88" fmla="*/ 1504950 w 2111375"/>
                <a:gd name="connsiteY88" fmla="*/ 587375 h 831850"/>
                <a:gd name="connsiteX89" fmla="*/ 1524000 w 2111375"/>
                <a:gd name="connsiteY89" fmla="*/ 593725 h 831850"/>
                <a:gd name="connsiteX90" fmla="*/ 1533525 w 2111375"/>
                <a:gd name="connsiteY90" fmla="*/ 596900 h 831850"/>
                <a:gd name="connsiteX91" fmla="*/ 1552575 w 2111375"/>
                <a:gd name="connsiteY91" fmla="*/ 609600 h 831850"/>
                <a:gd name="connsiteX92" fmla="*/ 1571625 w 2111375"/>
                <a:gd name="connsiteY92" fmla="*/ 615950 h 831850"/>
                <a:gd name="connsiteX93" fmla="*/ 1590675 w 2111375"/>
                <a:gd name="connsiteY93" fmla="*/ 625475 h 831850"/>
                <a:gd name="connsiteX94" fmla="*/ 1609725 w 2111375"/>
                <a:gd name="connsiteY94" fmla="*/ 635000 h 831850"/>
                <a:gd name="connsiteX95" fmla="*/ 1619250 w 2111375"/>
                <a:gd name="connsiteY95" fmla="*/ 644525 h 831850"/>
                <a:gd name="connsiteX96" fmla="*/ 1628775 w 2111375"/>
                <a:gd name="connsiteY96" fmla="*/ 647700 h 831850"/>
                <a:gd name="connsiteX97" fmla="*/ 1635125 w 2111375"/>
                <a:gd name="connsiteY97" fmla="*/ 657225 h 831850"/>
                <a:gd name="connsiteX98" fmla="*/ 1654175 w 2111375"/>
                <a:gd name="connsiteY98" fmla="*/ 669925 h 831850"/>
                <a:gd name="connsiteX99" fmla="*/ 1673225 w 2111375"/>
                <a:gd name="connsiteY99" fmla="*/ 676275 h 831850"/>
                <a:gd name="connsiteX100" fmla="*/ 1682750 w 2111375"/>
                <a:gd name="connsiteY100" fmla="*/ 679450 h 831850"/>
                <a:gd name="connsiteX101" fmla="*/ 1692275 w 2111375"/>
                <a:gd name="connsiteY101" fmla="*/ 685800 h 831850"/>
                <a:gd name="connsiteX102" fmla="*/ 1720850 w 2111375"/>
                <a:gd name="connsiteY102" fmla="*/ 692150 h 831850"/>
                <a:gd name="connsiteX103" fmla="*/ 1730375 w 2111375"/>
                <a:gd name="connsiteY103" fmla="*/ 698500 h 831850"/>
                <a:gd name="connsiteX104" fmla="*/ 1752600 w 2111375"/>
                <a:gd name="connsiteY104" fmla="*/ 704850 h 831850"/>
                <a:gd name="connsiteX105" fmla="*/ 1762125 w 2111375"/>
                <a:gd name="connsiteY105" fmla="*/ 708025 h 831850"/>
                <a:gd name="connsiteX106" fmla="*/ 1771650 w 2111375"/>
                <a:gd name="connsiteY106" fmla="*/ 714375 h 831850"/>
                <a:gd name="connsiteX107" fmla="*/ 1790700 w 2111375"/>
                <a:gd name="connsiteY107" fmla="*/ 720725 h 831850"/>
                <a:gd name="connsiteX108" fmla="*/ 1800225 w 2111375"/>
                <a:gd name="connsiteY108" fmla="*/ 723900 h 831850"/>
                <a:gd name="connsiteX109" fmla="*/ 1816100 w 2111375"/>
                <a:gd name="connsiteY109" fmla="*/ 727075 h 831850"/>
                <a:gd name="connsiteX110" fmla="*/ 1835150 w 2111375"/>
                <a:gd name="connsiteY110" fmla="*/ 733425 h 831850"/>
                <a:gd name="connsiteX111" fmla="*/ 1854200 w 2111375"/>
                <a:gd name="connsiteY111" fmla="*/ 739775 h 831850"/>
                <a:gd name="connsiteX112" fmla="*/ 1863725 w 2111375"/>
                <a:gd name="connsiteY112" fmla="*/ 742950 h 831850"/>
                <a:gd name="connsiteX113" fmla="*/ 1876425 w 2111375"/>
                <a:gd name="connsiteY113" fmla="*/ 746125 h 831850"/>
                <a:gd name="connsiteX114" fmla="*/ 1895475 w 2111375"/>
                <a:gd name="connsiteY114" fmla="*/ 752475 h 831850"/>
                <a:gd name="connsiteX115" fmla="*/ 1914525 w 2111375"/>
                <a:gd name="connsiteY115" fmla="*/ 758825 h 831850"/>
                <a:gd name="connsiteX116" fmla="*/ 1924050 w 2111375"/>
                <a:gd name="connsiteY116" fmla="*/ 762000 h 831850"/>
                <a:gd name="connsiteX117" fmla="*/ 1933575 w 2111375"/>
                <a:gd name="connsiteY117" fmla="*/ 765175 h 831850"/>
                <a:gd name="connsiteX118" fmla="*/ 1952625 w 2111375"/>
                <a:gd name="connsiteY118" fmla="*/ 774700 h 831850"/>
                <a:gd name="connsiteX119" fmla="*/ 1962150 w 2111375"/>
                <a:gd name="connsiteY119" fmla="*/ 781050 h 831850"/>
                <a:gd name="connsiteX120" fmla="*/ 1984375 w 2111375"/>
                <a:gd name="connsiteY120" fmla="*/ 787400 h 831850"/>
                <a:gd name="connsiteX121" fmla="*/ 1993900 w 2111375"/>
                <a:gd name="connsiteY121" fmla="*/ 790575 h 831850"/>
                <a:gd name="connsiteX122" fmla="*/ 2012950 w 2111375"/>
                <a:gd name="connsiteY122" fmla="*/ 803275 h 831850"/>
                <a:gd name="connsiteX123" fmla="*/ 2051050 w 2111375"/>
                <a:gd name="connsiteY123" fmla="*/ 815975 h 831850"/>
                <a:gd name="connsiteX124" fmla="*/ 2060575 w 2111375"/>
                <a:gd name="connsiteY124" fmla="*/ 819150 h 831850"/>
                <a:gd name="connsiteX125" fmla="*/ 2070100 w 2111375"/>
                <a:gd name="connsiteY125" fmla="*/ 822325 h 831850"/>
                <a:gd name="connsiteX126" fmla="*/ 2089150 w 2111375"/>
                <a:gd name="connsiteY126" fmla="*/ 825500 h 831850"/>
                <a:gd name="connsiteX127" fmla="*/ 2098675 w 2111375"/>
                <a:gd name="connsiteY127" fmla="*/ 828675 h 831850"/>
                <a:gd name="connsiteX128" fmla="*/ 2111375 w 2111375"/>
                <a:gd name="connsiteY128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111375" h="831850">
                  <a:moveTo>
                    <a:pt x="0" y="0"/>
                  </a:moveTo>
                  <a:cubicBezTo>
                    <a:pt x="9525" y="1058"/>
                    <a:pt x="19177" y="1295"/>
                    <a:pt x="28575" y="3175"/>
                  </a:cubicBezTo>
                  <a:cubicBezTo>
                    <a:pt x="62950" y="10050"/>
                    <a:pt x="35383" y="6201"/>
                    <a:pt x="57150" y="15875"/>
                  </a:cubicBezTo>
                  <a:cubicBezTo>
                    <a:pt x="63267" y="18593"/>
                    <a:pt x="69850" y="20108"/>
                    <a:pt x="76200" y="22225"/>
                  </a:cubicBezTo>
                  <a:cubicBezTo>
                    <a:pt x="79375" y="23283"/>
                    <a:pt x="82940" y="23544"/>
                    <a:pt x="85725" y="25400"/>
                  </a:cubicBezTo>
                  <a:cubicBezTo>
                    <a:pt x="88900" y="27517"/>
                    <a:pt x="91763" y="30200"/>
                    <a:pt x="95250" y="31750"/>
                  </a:cubicBezTo>
                  <a:cubicBezTo>
                    <a:pt x="108831" y="37786"/>
                    <a:pt x="114070" y="37581"/>
                    <a:pt x="127000" y="41275"/>
                  </a:cubicBezTo>
                  <a:cubicBezTo>
                    <a:pt x="130218" y="42194"/>
                    <a:pt x="133532" y="42953"/>
                    <a:pt x="136525" y="44450"/>
                  </a:cubicBezTo>
                  <a:cubicBezTo>
                    <a:pt x="139938" y="46157"/>
                    <a:pt x="142332" y="49942"/>
                    <a:pt x="146050" y="50800"/>
                  </a:cubicBezTo>
                  <a:cubicBezTo>
                    <a:pt x="156414" y="53192"/>
                    <a:pt x="167217" y="52917"/>
                    <a:pt x="177800" y="53975"/>
                  </a:cubicBezTo>
                  <a:cubicBezTo>
                    <a:pt x="184150" y="56092"/>
                    <a:pt x="192117" y="55592"/>
                    <a:pt x="196850" y="60325"/>
                  </a:cubicBezTo>
                  <a:cubicBezTo>
                    <a:pt x="200025" y="63500"/>
                    <a:pt x="202476" y="67622"/>
                    <a:pt x="206375" y="69850"/>
                  </a:cubicBezTo>
                  <a:cubicBezTo>
                    <a:pt x="210164" y="72015"/>
                    <a:pt x="214895" y="71771"/>
                    <a:pt x="219075" y="73025"/>
                  </a:cubicBezTo>
                  <a:lnTo>
                    <a:pt x="247650" y="82550"/>
                  </a:lnTo>
                  <a:lnTo>
                    <a:pt x="295275" y="98425"/>
                  </a:lnTo>
                  <a:lnTo>
                    <a:pt x="314325" y="104775"/>
                  </a:lnTo>
                  <a:cubicBezTo>
                    <a:pt x="317500" y="105833"/>
                    <a:pt x="320603" y="107138"/>
                    <a:pt x="323850" y="107950"/>
                  </a:cubicBezTo>
                  <a:cubicBezTo>
                    <a:pt x="332317" y="110067"/>
                    <a:pt x="340971" y="111540"/>
                    <a:pt x="349250" y="114300"/>
                  </a:cubicBezTo>
                  <a:cubicBezTo>
                    <a:pt x="355600" y="116417"/>
                    <a:pt x="361806" y="119027"/>
                    <a:pt x="368300" y="120650"/>
                  </a:cubicBezTo>
                  <a:cubicBezTo>
                    <a:pt x="372533" y="121708"/>
                    <a:pt x="376820" y="122571"/>
                    <a:pt x="381000" y="123825"/>
                  </a:cubicBezTo>
                  <a:cubicBezTo>
                    <a:pt x="387411" y="125748"/>
                    <a:pt x="393700" y="128058"/>
                    <a:pt x="400050" y="130175"/>
                  </a:cubicBezTo>
                  <a:cubicBezTo>
                    <a:pt x="403225" y="131233"/>
                    <a:pt x="406328" y="132538"/>
                    <a:pt x="409575" y="133350"/>
                  </a:cubicBezTo>
                  <a:cubicBezTo>
                    <a:pt x="428769" y="138148"/>
                    <a:pt x="418135" y="135145"/>
                    <a:pt x="441325" y="142875"/>
                  </a:cubicBezTo>
                  <a:cubicBezTo>
                    <a:pt x="444500" y="143933"/>
                    <a:pt x="448065" y="144194"/>
                    <a:pt x="450850" y="146050"/>
                  </a:cubicBezTo>
                  <a:cubicBezTo>
                    <a:pt x="457200" y="150283"/>
                    <a:pt x="462660" y="156337"/>
                    <a:pt x="469900" y="158750"/>
                  </a:cubicBezTo>
                  <a:cubicBezTo>
                    <a:pt x="501911" y="169420"/>
                    <a:pt x="452258" y="153140"/>
                    <a:pt x="492125" y="165100"/>
                  </a:cubicBezTo>
                  <a:cubicBezTo>
                    <a:pt x="498536" y="167023"/>
                    <a:pt x="504825" y="169333"/>
                    <a:pt x="511175" y="171450"/>
                  </a:cubicBezTo>
                  <a:lnTo>
                    <a:pt x="530225" y="177800"/>
                  </a:lnTo>
                  <a:cubicBezTo>
                    <a:pt x="533400" y="178858"/>
                    <a:pt x="536965" y="179119"/>
                    <a:pt x="539750" y="180975"/>
                  </a:cubicBezTo>
                  <a:cubicBezTo>
                    <a:pt x="542925" y="183092"/>
                    <a:pt x="545788" y="185775"/>
                    <a:pt x="549275" y="187325"/>
                  </a:cubicBezTo>
                  <a:cubicBezTo>
                    <a:pt x="555392" y="190043"/>
                    <a:pt x="561975" y="191558"/>
                    <a:pt x="568325" y="193675"/>
                  </a:cubicBezTo>
                  <a:lnTo>
                    <a:pt x="587375" y="200025"/>
                  </a:lnTo>
                  <a:lnTo>
                    <a:pt x="625475" y="212725"/>
                  </a:lnTo>
                  <a:lnTo>
                    <a:pt x="635000" y="215900"/>
                  </a:lnTo>
                  <a:cubicBezTo>
                    <a:pt x="638175" y="216958"/>
                    <a:pt x="641212" y="218602"/>
                    <a:pt x="644525" y="219075"/>
                  </a:cubicBezTo>
                  <a:lnTo>
                    <a:pt x="666750" y="222250"/>
                  </a:lnTo>
                  <a:cubicBezTo>
                    <a:pt x="673100" y="224367"/>
                    <a:pt x="679306" y="226977"/>
                    <a:pt x="685800" y="228600"/>
                  </a:cubicBezTo>
                  <a:cubicBezTo>
                    <a:pt x="690033" y="229658"/>
                    <a:pt x="694320" y="230521"/>
                    <a:pt x="698500" y="231775"/>
                  </a:cubicBezTo>
                  <a:cubicBezTo>
                    <a:pt x="737149" y="243370"/>
                    <a:pt x="700978" y="233982"/>
                    <a:pt x="730250" y="241300"/>
                  </a:cubicBezTo>
                  <a:cubicBezTo>
                    <a:pt x="736600" y="245533"/>
                    <a:pt x="742060" y="251587"/>
                    <a:pt x="749300" y="254000"/>
                  </a:cubicBezTo>
                  <a:cubicBezTo>
                    <a:pt x="752475" y="255058"/>
                    <a:pt x="755899" y="255550"/>
                    <a:pt x="758825" y="257175"/>
                  </a:cubicBezTo>
                  <a:cubicBezTo>
                    <a:pt x="765496" y="260881"/>
                    <a:pt x="771525" y="265642"/>
                    <a:pt x="777875" y="269875"/>
                  </a:cubicBezTo>
                  <a:cubicBezTo>
                    <a:pt x="781050" y="271992"/>
                    <a:pt x="783780" y="275018"/>
                    <a:pt x="787400" y="276225"/>
                  </a:cubicBezTo>
                  <a:cubicBezTo>
                    <a:pt x="793750" y="278342"/>
                    <a:pt x="800881" y="278862"/>
                    <a:pt x="806450" y="282575"/>
                  </a:cubicBezTo>
                  <a:cubicBezTo>
                    <a:pt x="809625" y="284692"/>
                    <a:pt x="812488" y="287375"/>
                    <a:pt x="815975" y="288925"/>
                  </a:cubicBezTo>
                  <a:cubicBezTo>
                    <a:pt x="822092" y="291643"/>
                    <a:pt x="828675" y="293158"/>
                    <a:pt x="835025" y="295275"/>
                  </a:cubicBezTo>
                  <a:lnTo>
                    <a:pt x="854075" y="301625"/>
                  </a:lnTo>
                  <a:cubicBezTo>
                    <a:pt x="857250" y="302683"/>
                    <a:pt x="860815" y="302944"/>
                    <a:pt x="863600" y="304800"/>
                  </a:cubicBezTo>
                  <a:cubicBezTo>
                    <a:pt x="878694" y="314863"/>
                    <a:pt x="869505" y="309943"/>
                    <a:pt x="892175" y="317500"/>
                  </a:cubicBezTo>
                  <a:cubicBezTo>
                    <a:pt x="895350" y="318558"/>
                    <a:pt x="898915" y="318819"/>
                    <a:pt x="901700" y="320675"/>
                  </a:cubicBezTo>
                  <a:cubicBezTo>
                    <a:pt x="904875" y="322792"/>
                    <a:pt x="907812" y="325318"/>
                    <a:pt x="911225" y="327025"/>
                  </a:cubicBezTo>
                  <a:cubicBezTo>
                    <a:pt x="919802" y="331313"/>
                    <a:pt x="931020" y="331424"/>
                    <a:pt x="939800" y="333375"/>
                  </a:cubicBezTo>
                  <a:cubicBezTo>
                    <a:pt x="943067" y="334101"/>
                    <a:pt x="946399" y="334925"/>
                    <a:pt x="949325" y="336550"/>
                  </a:cubicBezTo>
                  <a:cubicBezTo>
                    <a:pt x="955996" y="340256"/>
                    <a:pt x="960971" y="347399"/>
                    <a:pt x="968375" y="349250"/>
                  </a:cubicBezTo>
                  <a:cubicBezTo>
                    <a:pt x="972444" y="350267"/>
                    <a:pt x="986045" y="353323"/>
                    <a:pt x="990600" y="355600"/>
                  </a:cubicBezTo>
                  <a:cubicBezTo>
                    <a:pt x="994013" y="357307"/>
                    <a:pt x="996712" y="360243"/>
                    <a:pt x="1000125" y="361950"/>
                  </a:cubicBezTo>
                  <a:cubicBezTo>
                    <a:pt x="1003118" y="363447"/>
                    <a:pt x="1006657" y="363628"/>
                    <a:pt x="1009650" y="365125"/>
                  </a:cubicBezTo>
                  <a:cubicBezTo>
                    <a:pt x="1013063" y="366832"/>
                    <a:pt x="1015762" y="369768"/>
                    <a:pt x="1019175" y="371475"/>
                  </a:cubicBezTo>
                  <a:cubicBezTo>
                    <a:pt x="1022168" y="372972"/>
                    <a:pt x="1025707" y="373153"/>
                    <a:pt x="1028700" y="374650"/>
                  </a:cubicBezTo>
                  <a:cubicBezTo>
                    <a:pt x="1032113" y="376357"/>
                    <a:pt x="1034738" y="379450"/>
                    <a:pt x="1038225" y="381000"/>
                  </a:cubicBezTo>
                  <a:cubicBezTo>
                    <a:pt x="1044342" y="383718"/>
                    <a:pt x="1051706" y="383637"/>
                    <a:pt x="1057275" y="387350"/>
                  </a:cubicBezTo>
                  <a:cubicBezTo>
                    <a:pt x="1063625" y="391583"/>
                    <a:pt x="1069085" y="397637"/>
                    <a:pt x="1076325" y="400050"/>
                  </a:cubicBezTo>
                  <a:lnTo>
                    <a:pt x="1095375" y="406400"/>
                  </a:lnTo>
                  <a:cubicBezTo>
                    <a:pt x="1098550" y="407458"/>
                    <a:pt x="1102115" y="407719"/>
                    <a:pt x="1104900" y="409575"/>
                  </a:cubicBezTo>
                  <a:cubicBezTo>
                    <a:pt x="1108075" y="411692"/>
                    <a:pt x="1110938" y="414375"/>
                    <a:pt x="1114425" y="415925"/>
                  </a:cubicBezTo>
                  <a:cubicBezTo>
                    <a:pt x="1120542" y="418643"/>
                    <a:pt x="1127125" y="420158"/>
                    <a:pt x="1133475" y="422275"/>
                  </a:cubicBezTo>
                  <a:lnTo>
                    <a:pt x="1152525" y="428625"/>
                  </a:lnTo>
                  <a:cubicBezTo>
                    <a:pt x="1155700" y="429683"/>
                    <a:pt x="1159265" y="429944"/>
                    <a:pt x="1162050" y="431800"/>
                  </a:cubicBezTo>
                  <a:cubicBezTo>
                    <a:pt x="1182018" y="445112"/>
                    <a:pt x="1160598" y="432374"/>
                    <a:pt x="1196975" y="444500"/>
                  </a:cubicBezTo>
                  <a:lnTo>
                    <a:pt x="1216025" y="450850"/>
                  </a:lnTo>
                  <a:cubicBezTo>
                    <a:pt x="1220258" y="454025"/>
                    <a:pt x="1224131" y="457750"/>
                    <a:pt x="1228725" y="460375"/>
                  </a:cubicBezTo>
                  <a:cubicBezTo>
                    <a:pt x="1232268" y="462399"/>
                    <a:pt x="1248201" y="466038"/>
                    <a:pt x="1250950" y="466725"/>
                  </a:cubicBezTo>
                  <a:cubicBezTo>
                    <a:pt x="1257300" y="470958"/>
                    <a:pt x="1262760" y="477012"/>
                    <a:pt x="1270000" y="479425"/>
                  </a:cubicBezTo>
                  <a:cubicBezTo>
                    <a:pt x="1273175" y="480483"/>
                    <a:pt x="1276532" y="481103"/>
                    <a:pt x="1279525" y="482600"/>
                  </a:cubicBezTo>
                  <a:cubicBezTo>
                    <a:pt x="1282938" y="484307"/>
                    <a:pt x="1285945" y="486732"/>
                    <a:pt x="1289050" y="488950"/>
                  </a:cubicBezTo>
                  <a:cubicBezTo>
                    <a:pt x="1293356" y="492026"/>
                    <a:pt x="1297017" y="496108"/>
                    <a:pt x="1301750" y="498475"/>
                  </a:cubicBezTo>
                  <a:lnTo>
                    <a:pt x="1330325" y="508000"/>
                  </a:lnTo>
                  <a:cubicBezTo>
                    <a:pt x="1333500" y="509058"/>
                    <a:pt x="1337065" y="509319"/>
                    <a:pt x="1339850" y="511175"/>
                  </a:cubicBezTo>
                  <a:cubicBezTo>
                    <a:pt x="1343025" y="513292"/>
                    <a:pt x="1345888" y="515975"/>
                    <a:pt x="1349375" y="517525"/>
                  </a:cubicBezTo>
                  <a:cubicBezTo>
                    <a:pt x="1355492" y="520243"/>
                    <a:pt x="1362075" y="521758"/>
                    <a:pt x="1368425" y="523875"/>
                  </a:cubicBezTo>
                  <a:cubicBezTo>
                    <a:pt x="1371600" y="524933"/>
                    <a:pt x="1375165" y="525194"/>
                    <a:pt x="1377950" y="527050"/>
                  </a:cubicBezTo>
                  <a:cubicBezTo>
                    <a:pt x="1381125" y="529167"/>
                    <a:pt x="1383988" y="531850"/>
                    <a:pt x="1387475" y="533400"/>
                  </a:cubicBezTo>
                  <a:cubicBezTo>
                    <a:pt x="1393592" y="536118"/>
                    <a:pt x="1400956" y="536037"/>
                    <a:pt x="1406525" y="539750"/>
                  </a:cubicBezTo>
                  <a:cubicBezTo>
                    <a:pt x="1433822" y="557948"/>
                    <a:pt x="1399285" y="536130"/>
                    <a:pt x="1425575" y="549275"/>
                  </a:cubicBezTo>
                  <a:cubicBezTo>
                    <a:pt x="1428988" y="550982"/>
                    <a:pt x="1431687" y="553918"/>
                    <a:pt x="1435100" y="555625"/>
                  </a:cubicBezTo>
                  <a:cubicBezTo>
                    <a:pt x="1439655" y="557902"/>
                    <a:pt x="1453256" y="560958"/>
                    <a:pt x="1457325" y="561975"/>
                  </a:cubicBezTo>
                  <a:cubicBezTo>
                    <a:pt x="1460500" y="564092"/>
                    <a:pt x="1463363" y="566775"/>
                    <a:pt x="1466850" y="568325"/>
                  </a:cubicBezTo>
                  <a:cubicBezTo>
                    <a:pt x="1472967" y="571043"/>
                    <a:pt x="1480331" y="570962"/>
                    <a:pt x="1485900" y="574675"/>
                  </a:cubicBezTo>
                  <a:cubicBezTo>
                    <a:pt x="1492250" y="578908"/>
                    <a:pt x="1497710" y="584962"/>
                    <a:pt x="1504950" y="587375"/>
                  </a:cubicBezTo>
                  <a:lnTo>
                    <a:pt x="1524000" y="593725"/>
                  </a:lnTo>
                  <a:cubicBezTo>
                    <a:pt x="1527175" y="594783"/>
                    <a:pt x="1530740" y="595044"/>
                    <a:pt x="1533525" y="596900"/>
                  </a:cubicBezTo>
                  <a:cubicBezTo>
                    <a:pt x="1539875" y="601133"/>
                    <a:pt x="1545335" y="607187"/>
                    <a:pt x="1552575" y="609600"/>
                  </a:cubicBezTo>
                  <a:cubicBezTo>
                    <a:pt x="1558925" y="611717"/>
                    <a:pt x="1566056" y="612237"/>
                    <a:pt x="1571625" y="615950"/>
                  </a:cubicBezTo>
                  <a:cubicBezTo>
                    <a:pt x="1598922" y="634148"/>
                    <a:pt x="1564385" y="612330"/>
                    <a:pt x="1590675" y="625475"/>
                  </a:cubicBezTo>
                  <a:cubicBezTo>
                    <a:pt x="1615294" y="637785"/>
                    <a:pt x="1585784" y="627020"/>
                    <a:pt x="1609725" y="635000"/>
                  </a:cubicBezTo>
                  <a:cubicBezTo>
                    <a:pt x="1612900" y="638175"/>
                    <a:pt x="1615514" y="642034"/>
                    <a:pt x="1619250" y="644525"/>
                  </a:cubicBezTo>
                  <a:cubicBezTo>
                    <a:pt x="1622035" y="646381"/>
                    <a:pt x="1626162" y="645609"/>
                    <a:pt x="1628775" y="647700"/>
                  </a:cubicBezTo>
                  <a:cubicBezTo>
                    <a:pt x="1631755" y="650084"/>
                    <a:pt x="1632253" y="654712"/>
                    <a:pt x="1635125" y="657225"/>
                  </a:cubicBezTo>
                  <a:cubicBezTo>
                    <a:pt x="1640868" y="662251"/>
                    <a:pt x="1646935" y="667512"/>
                    <a:pt x="1654175" y="669925"/>
                  </a:cubicBezTo>
                  <a:lnTo>
                    <a:pt x="1673225" y="676275"/>
                  </a:lnTo>
                  <a:cubicBezTo>
                    <a:pt x="1676400" y="677333"/>
                    <a:pt x="1679965" y="677594"/>
                    <a:pt x="1682750" y="679450"/>
                  </a:cubicBezTo>
                  <a:cubicBezTo>
                    <a:pt x="1685925" y="681567"/>
                    <a:pt x="1688655" y="684593"/>
                    <a:pt x="1692275" y="685800"/>
                  </a:cubicBezTo>
                  <a:cubicBezTo>
                    <a:pt x="1706908" y="690678"/>
                    <a:pt x="1709230" y="686340"/>
                    <a:pt x="1720850" y="692150"/>
                  </a:cubicBezTo>
                  <a:cubicBezTo>
                    <a:pt x="1724263" y="693857"/>
                    <a:pt x="1726962" y="696793"/>
                    <a:pt x="1730375" y="698500"/>
                  </a:cubicBezTo>
                  <a:cubicBezTo>
                    <a:pt x="1735450" y="701038"/>
                    <a:pt x="1747853" y="703494"/>
                    <a:pt x="1752600" y="704850"/>
                  </a:cubicBezTo>
                  <a:cubicBezTo>
                    <a:pt x="1755818" y="705769"/>
                    <a:pt x="1759132" y="706528"/>
                    <a:pt x="1762125" y="708025"/>
                  </a:cubicBezTo>
                  <a:cubicBezTo>
                    <a:pt x="1765538" y="709732"/>
                    <a:pt x="1768163" y="712825"/>
                    <a:pt x="1771650" y="714375"/>
                  </a:cubicBezTo>
                  <a:cubicBezTo>
                    <a:pt x="1777767" y="717093"/>
                    <a:pt x="1784350" y="718608"/>
                    <a:pt x="1790700" y="720725"/>
                  </a:cubicBezTo>
                  <a:cubicBezTo>
                    <a:pt x="1793875" y="721783"/>
                    <a:pt x="1796943" y="723244"/>
                    <a:pt x="1800225" y="723900"/>
                  </a:cubicBezTo>
                  <a:cubicBezTo>
                    <a:pt x="1805517" y="724958"/>
                    <a:pt x="1810894" y="725655"/>
                    <a:pt x="1816100" y="727075"/>
                  </a:cubicBezTo>
                  <a:cubicBezTo>
                    <a:pt x="1822558" y="728836"/>
                    <a:pt x="1828800" y="731308"/>
                    <a:pt x="1835150" y="733425"/>
                  </a:cubicBezTo>
                  <a:lnTo>
                    <a:pt x="1854200" y="739775"/>
                  </a:lnTo>
                  <a:cubicBezTo>
                    <a:pt x="1857375" y="740833"/>
                    <a:pt x="1860478" y="742138"/>
                    <a:pt x="1863725" y="742950"/>
                  </a:cubicBezTo>
                  <a:cubicBezTo>
                    <a:pt x="1867958" y="744008"/>
                    <a:pt x="1872245" y="744871"/>
                    <a:pt x="1876425" y="746125"/>
                  </a:cubicBezTo>
                  <a:cubicBezTo>
                    <a:pt x="1882836" y="748048"/>
                    <a:pt x="1889125" y="750358"/>
                    <a:pt x="1895475" y="752475"/>
                  </a:cubicBezTo>
                  <a:lnTo>
                    <a:pt x="1914525" y="758825"/>
                  </a:lnTo>
                  <a:lnTo>
                    <a:pt x="1924050" y="762000"/>
                  </a:lnTo>
                  <a:cubicBezTo>
                    <a:pt x="1927225" y="763058"/>
                    <a:pt x="1930790" y="763319"/>
                    <a:pt x="1933575" y="765175"/>
                  </a:cubicBezTo>
                  <a:cubicBezTo>
                    <a:pt x="1960872" y="783373"/>
                    <a:pt x="1926335" y="761555"/>
                    <a:pt x="1952625" y="774700"/>
                  </a:cubicBezTo>
                  <a:cubicBezTo>
                    <a:pt x="1956038" y="776407"/>
                    <a:pt x="1958737" y="779343"/>
                    <a:pt x="1962150" y="781050"/>
                  </a:cubicBezTo>
                  <a:cubicBezTo>
                    <a:pt x="1967225" y="783588"/>
                    <a:pt x="1979628" y="786044"/>
                    <a:pt x="1984375" y="787400"/>
                  </a:cubicBezTo>
                  <a:cubicBezTo>
                    <a:pt x="1987593" y="788319"/>
                    <a:pt x="1990974" y="788950"/>
                    <a:pt x="1993900" y="790575"/>
                  </a:cubicBezTo>
                  <a:cubicBezTo>
                    <a:pt x="2000571" y="794281"/>
                    <a:pt x="2005710" y="800862"/>
                    <a:pt x="2012950" y="803275"/>
                  </a:cubicBezTo>
                  <a:lnTo>
                    <a:pt x="2051050" y="815975"/>
                  </a:lnTo>
                  <a:lnTo>
                    <a:pt x="2060575" y="819150"/>
                  </a:lnTo>
                  <a:cubicBezTo>
                    <a:pt x="2063750" y="820208"/>
                    <a:pt x="2066799" y="821775"/>
                    <a:pt x="2070100" y="822325"/>
                  </a:cubicBezTo>
                  <a:cubicBezTo>
                    <a:pt x="2076450" y="823383"/>
                    <a:pt x="2082866" y="824103"/>
                    <a:pt x="2089150" y="825500"/>
                  </a:cubicBezTo>
                  <a:cubicBezTo>
                    <a:pt x="2092417" y="826226"/>
                    <a:pt x="2095457" y="827756"/>
                    <a:pt x="2098675" y="828675"/>
                  </a:cubicBezTo>
                  <a:cubicBezTo>
                    <a:pt x="2102871" y="829874"/>
                    <a:pt x="2111375" y="831850"/>
                    <a:pt x="2111375" y="831850"/>
                  </a:cubicBezTo>
                </a:path>
              </a:pathLst>
            </a:custGeom>
            <a:noFill/>
            <a:ln w="15875">
              <a:solidFill>
                <a:srgbClr val="F6BA1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9277A26F-A9C7-44B3-B532-992F352D66AB}"/>
                </a:ext>
              </a:extLst>
            </p:cNvPr>
            <p:cNvCxnSpPr>
              <a:cxnSpLocks/>
            </p:cNvCxnSpPr>
            <p:nvPr/>
          </p:nvCxnSpPr>
          <p:spPr>
            <a:xfrm>
              <a:off x="2671763" y="3098800"/>
              <a:ext cx="85728" cy="0"/>
            </a:xfrm>
            <a:prstGeom prst="line">
              <a:avLst/>
            </a:prstGeom>
            <a:ln cap="sq"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D9B6A53-7D84-4AEB-B6C6-4C3F077143FA}"/>
                </a:ext>
              </a:extLst>
            </p:cNvPr>
            <p:cNvCxnSpPr>
              <a:cxnSpLocks/>
            </p:cNvCxnSpPr>
            <p:nvPr/>
          </p:nvCxnSpPr>
          <p:spPr>
            <a:xfrm>
              <a:off x="2757491" y="3098800"/>
              <a:ext cx="0" cy="53976"/>
            </a:xfrm>
            <a:prstGeom prst="line">
              <a:avLst/>
            </a:prstGeom>
            <a:ln>
              <a:solidFill>
                <a:srgbClr val="F6BA14"/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66FCF63B-45E2-4C2A-8916-395BDF9792C8}"/>
                </a:ext>
              </a:extLst>
            </p:cNvPr>
            <p:cNvCxnSpPr/>
            <p:nvPr/>
          </p:nvCxnSpPr>
          <p:spPr>
            <a:xfrm flipH="1">
              <a:off x="4964112" y="4059242"/>
              <a:ext cx="649288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CAB0D7BC-D78C-471D-BA43-542DAA9AC593}"/>
                </a:ext>
              </a:extLst>
            </p:cNvPr>
            <p:cNvCxnSpPr/>
            <p:nvPr/>
          </p:nvCxnSpPr>
          <p:spPr>
            <a:xfrm flipV="1">
              <a:off x="4964112" y="3875088"/>
              <a:ext cx="0" cy="184154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F499C60D-AB5C-46A9-AC42-18B3EDD2906B}"/>
                </a:ext>
              </a:extLst>
            </p:cNvPr>
            <p:cNvCxnSpPr/>
            <p:nvPr/>
          </p:nvCxnSpPr>
          <p:spPr>
            <a:xfrm flipH="1">
              <a:off x="4646613" y="3873500"/>
              <a:ext cx="317499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6F93FE4A-7A40-41E2-B9C7-2C96527A1746}"/>
                </a:ext>
              </a:extLst>
            </p:cNvPr>
            <p:cNvCxnSpPr/>
            <p:nvPr/>
          </p:nvCxnSpPr>
          <p:spPr>
            <a:xfrm>
              <a:off x="4646613" y="3765551"/>
              <a:ext cx="0" cy="107949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22AE77AE-A389-4BE2-88C1-2ACA46062F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48188" y="3765551"/>
              <a:ext cx="98426" cy="1586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3DDCBAB9-FDAD-4E30-8259-2988B67587A8}"/>
                </a:ext>
              </a:extLst>
            </p:cNvPr>
            <p:cNvCxnSpPr/>
            <p:nvPr/>
          </p:nvCxnSpPr>
          <p:spPr>
            <a:xfrm flipV="1">
              <a:off x="4548188" y="3736975"/>
              <a:ext cx="0" cy="28576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706894D5-0471-4A54-81C9-B7EFB0A30C76}"/>
                </a:ext>
              </a:extLst>
            </p:cNvPr>
            <p:cNvCxnSpPr/>
            <p:nvPr/>
          </p:nvCxnSpPr>
          <p:spPr>
            <a:xfrm flipH="1">
              <a:off x="4473575" y="3736975"/>
              <a:ext cx="73025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49AFCE30-4463-4831-AA5B-FB5E6640C092}"/>
                </a:ext>
              </a:extLst>
            </p:cNvPr>
            <p:cNvCxnSpPr/>
            <p:nvPr/>
          </p:nvCxnSpPr>
          <p:spPr>
            <a:xfrm flipV="1">
              <a:off x="4473575" y="3702050"/>
              <a:ext cx="0" cy="34925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1D469509-01AF-493F-9B27-3C0A1D463C38}"/>
                </a:ext>
              </a:extLst>
            </p:cNvPr>
            <p:cNvCxnSpPr/>
            <p:nvPr/>
          </p:nvCxnSpPr>
          <p:spPr>
            <a:xfrm flipH="1">
              <a:off x="4295775" y="3702050"/>
              <a:ext cx="177800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3B5B6097-9A43-4501-A651-9C24AD7C0AFA}"/>
                </a:ext>
              </a:extLst>
            </p:cNvPr>
            <p:cNvCxnSpPr/>
            <p:nvPr/>
          </p:nvCxnSpPr>
          <p:spPr>
            <a:xfrm flipV="1">
              <a:off x="4298950" y="3619500"/>
              <a:ext cx="0" cy="8255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DFA2782B-90BD-492D-9F94-154885766F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30688" y="3619500"/>
              <a:ext cx="65087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C8BBAEAC-DDA0-4478-B4D4-0B0D65AB26C6}"/>
                </a:ext>
              </a:extLst>
            </p:cNvPr>
            <p:cNvCxnSpPr/>
            <p:nvPr/>
          </p:nvCxnSpPr>
          <p:spPr>
            <a:xfrm flipV="1">
              <a:off x="4227513" y="3582988"/>
              <a:ext cx="0" cy="36512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6D65F10-D94E-4F91-A9B5-341B243163F2}"/>
                </a:ext>
              </a:extLst>
            </p:cNvPr>
            <p:cNvCxnSpPr/>
            <p:nvPr/>
          </p:nvCxnSpPr>
          <p:spPr>
            <a:xfrm flipH="1">
              <a:off x="4181475" y="3576636"/>
              <a:ext cx="49213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3FD9FE38-82EE-46BC-AA86-00BDE7FA8C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1475" y="3549655"/>
              <a:ext cx="0" cy="26981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BB7EB5D7-F66B-4B50-9011-AD701408C741}"/>
                </a:ext>
              </a:extLst>
            </p:cNvPr>
            <p:cNvCxnSpPr/>
            <p:nvPr/>
          </p:nvCxnSpPr>
          <p:spPr>
            <a:xfrm flipH="1">
              <a:off x="3998913" y="3549655"/>
              <a:ext cx="182562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E3E080C3-D663-432B-B185-6A3130D5FE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8913" y="3519488"/>
              <a:ext cx="0" cy="30167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FF400318-895D-4426-B810-F65EE813349C}"/>
                </a:ext>
              </a:extLst>
            </p:cNvPr>
            <p:cNvCxnSpPr/>
            <p:nvPr/>
          </p:nvCxnSpPr>
          <p:spPr>
            <a:xfrm flipH="1">
              <a:off x="3954463" y="3519487"/>
              <a:ext cx="44450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2FAB14FD-706D-4E9A-9902-E84D0CA07881}"/>
                </a:ext>
              </a:extLst>
            </p:cNvPr>
            <p:cNvCxnSpPr/>
            <p:nvPr/>
          </p:nvCxnSpPr>
          <p:spPr>
            <a:xfrm flipV="1">
              <a:off x="3954463" y="3494091"/>
              <a:ext cx="0" cy="25396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85228A7D-33BA-47F9-933C-AA259D70FD81}"/>
                </a:ext>
              </a:extLst>
            </p:cNvPr>
            <p:cNvCxnSpPr/>
            <p:nvPr/>
          </p:nvCxnSpPr>
          <p:spPr>
            <a:xfrm flipH="1">
              <a:off x="3878263" y="3494091"/>
              <a:ext cx="76200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3C220DD6-1714-48BC-B1D5-22C52CD4363F}"/>
                </a:ext>
              </a:extLst>
            </p:cNvPr>
            <p:cNvCxnSpPr/>
            <p:nvPr/>
          </p:nvCxnSpPr>
          <p:spPr>
            <a:xfrm flipV="1">
              <a:off x="3878263" y="3451225"/>
              <a:ext cx="0" cy="42866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DF6ADF85-CFB0-4965-8715-73CA603794EA}"/>
                </a:ext>
              </a:extLst>
            </p:cNvPr>
            <p:cNvCxnSpPr/>
            <p:nvPr/>
          </p:nvCxnSpPr>
          <p:spPr>
            <a:xfrm flipH="1">
              <a:off x="3743325" y="3451225"/>
              <a:ext cx="134938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99E9AC22-0318-431F-B09A-71F32070ADA2}"/>
                </a:ext>
              </a:extLst>
            </p:cNvPr>
            <p:cNvCxnSpPr/>
            <p:nvPr/>
          </p:nvCxnSpPr>
          <p:spPr>
            <a:xfrm flipV="1">
              <a:off x="3743325" y="3429000"/>
              <a:ext cx="0" cy="22225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55D8F6BF-6D0E-41DD-A08F-AEE446177E03}"/>
                </a:ext>
              </a:extLst>
            </p:cNvPr>
            <p:cNvCxnSpPr/>
            <p:nvPr/>
          </p:nvCxnSpPr>
          <p:spPr>
            <a:xfrm flipH="1">
              <a:off x="3659188" y="3429000"/>
              <a:ext cx="84137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17284526-E89F-467A-89E7-DBFF377F15FA}"/>
                </a:ext>
              </a:extLst>
            </p:cNvPr>
            <p:cNvCxnSpPr/>
            <p:nvPr/>
          </p:nvCxnSpPr>
          <p:spPr>
            <a:xfrm flipV="1">
              <a:off x="3659188" y="3378200"/>
              <a:ext cx="0" cy="5080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1C2A36F2-813B-4AE5-8ECA-AD6C495468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73450" y="3316285"/>
              <a:ext cx="19050" cy="66675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D4C887BC-4FE3-43D5-9901-98E949F5E90A}"/>
                </a:ext>
              </a:extLst>
            </p:cNvPr>
            <p:cNvCxnSpPr>
              <a:cxnSpLocks/>
            </p:cNvCxnSpPr>
            <p:nvPr/>
          </p:nvCxnSpPr>
          <p:spPr>
            <a:xfrm>
              <a:off x="3492500" y="3376613"/>
              <a:ext cx="166688" cy="1587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47D17B4F-FFAE-44E4-A9B8-604C55D5B5A2}"/>
                </a:ext>
              </a:extLst>
            </p:cNvPr>
            <p:cNvCxnSpPr>
              <a:cxnSpLocks/>
            </p:cNvCxnSpPr>
            <p:nvPr/>
          </p:nvCxnSpPr>
          <p:spPr>
            <a:xfrm>
              <a:off x="3329384" y="3320103"/>
              <a:ext cx="127794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58C31A93-5432-4804-B167-D141B385F23F}"/>
                </a:ext>
              </a:extLst>
            </p:cNvPr>
            <p:cNvCxnSpPr>
              <a:cxnSpLocks/>
            </p:cNvCxnSpPr>
            <p:nvPr/>
          </p:nvCxnSpPr>
          <p:spPr>
            <a:xfrm>
              <a:off x="3249612" y="3285331"/>
              <a:ext cx="68263" cy="794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5DBD695E-86B3-4037-A703-7561D94A1469}"/>
                </a:ext>
              </a:extLst>
            </p:cNvPr>
            <p:cNvCxnSpPr>
              <a:cxnSpLocks/>
            </p:cNvCxnSpPr>
            <p:nvPr/>
          </p:nvCxnSpPr>
          <p:spPr>
            <a:xfrm>
              <a:off x="2671763" y="3109914"/>
              <a:ext cx="79376" cy="0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2025EA7C-1EDD-44AD-913C-11029DC55F26}"/>
                </a:ext>
              </a:extLst>
            </p:cNvPr>
            <p:cNvCxnSpPr/>
            <p:nvPr/>
          </p:nvCxnSpPr>
          <p:spPr>
            <a:xfrm flipV="1">
              <a:off x="3323695" y="3287713"/>
              <a:ext cx="0" cy="28572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FF09DBF9-DBD9-4883-B3DD-DC1A697661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1143" y="3260728"/>
              <a:ext cx="0" cy="28572"/>
            </a:xfrm>
            <a:prstGeom prst="line">
              <a:avLst/>
            </a:prstGeom>
            <a:ln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339F6893-F09C-4D9D-B450-ED76B5E1A163}"/>
                </a:ext>
              </a:extLst>
            </p:cNvPr>
            <p:cNvCxnSpPr>
              <a:cxnSpLocks/>
            </p:cNvCxnSpPr>
            <p:nvPr/>
          </p:nvCxnSpPr>
          <p:spPr>
            <a:xfrm>
              <a:off x="4919133" y="4052359"/>
              <a:ext cx="252943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C11B679C-D2A1-41B7-A84B-AA67D2D7B5F9}"/>
                </a:ext>
              </a:extLst>
            </p:cNvPr>
            <p:cNvCxnSpPr/>
            <p:nvPr/>
          </p:nvCxnSpPr>
          <p:spPr>
            <a:xfrm flipV="1">
              <a:off x="4919663" y="3873500"/>
              <a:ext cx="0" cy="179389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95484049-55B4-4244-B6F1-3CCCC5368BCD}"/>
                </a:ext>
              </a:extLst>
            </p:cNvPr>
            <p:cNvCxnSpPr>
              <a:cxnSpLocks/>
              <a:endCxn id="184" idx="106"/>
            </p:cNvCxnSpPr>
            <p:nvPr/>
          </p:nvCxnSpPr>
          <p:spPr>
            <a:xfrm flipH="1" flipV="1">
              <a:off x="4533900" y="3863975"/>
              <a:ext cx="383646" cy="9526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3B4DBBBA-D4DC-48C6-AD21-51AAB6729B3F}"/>
                </a:ext>
              </a:extLst>
            </p:cNvPr>
            <p:cNvCxnSpPr/>
            <p:nvPr/>
          </p:nvCxnSpPr>
          <p:spPr>
            <a:xfrm flipH="1">
              <a:off x="4498975" y="3811588"/>
              <a:ext cx="47625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9143ACD-E9E3-4E63-8535-DC04E1FD3C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95800" y="3765550"/>
              <a:ext cx="0" cy="46038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C6B8C4AA-ADF1-4020-95B9-F8B0EBB61BF4}"/>
                </a:ext>
              </a:extLst>
            </p:cNvPr>
            <p:cNvCxnSpPr>
              <a:cxnSpLocks/>
              <a:endCxn id="184" idx="92"/>
            </p:cNvCxnSpPr>
            <p:nvPr/>
          </p:nvCxnSpPr>
          <p:spPr>
            <a:xfrm flipH="1">
              <a:off x="4333875" y="3765550"/>
              <a:ext cx="161925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C05407E9-0021-438E-839A-927A493D77D4}"/>
                </a:ext>
              </a:extLst>
            </p:cNvPr>
            <p:cNvCxnSpPr>
              <a:endCxn id="184" idx="92"/>
            </p:cNvCxnSpPr>
            <p:nvPr/>
          </p:nvCxnSpPr>
          <p:spPr>
            <a:xfrm flipH="1">
              <a:off x="4333875" y="3597275"/>
              <a:ext cx="3175" cy="168275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5825527A-62EE-4FEC-913F-0FEAD6EA8A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73550" y="3597275"/>
              <a:ext cx="60325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FC11D1ED-98C3-4242-85A9-0272C8C26808}"/>
                </a:ext>
              </a:extLst>
            </p:cNvPr>
            <p:cNvCxnSpPr/>
            <p:nvPr/>
          </p:nvCxnSpPr>
          <p:spPr>
            <a:xfrm flipV="1">
              <a:off x="4273550" y="3576636"/>
              <a:ext cx="0" cy="20639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FC6C878B-AC18-4292-8CE2-A85DB6D798D3}"/>
                </a:ext>
              </a:extLst>
            </p:cNvPr>
            <p:cNvCxnSpPr/>
            <p:nvPr/>
          </p:nvCxnSpPr>
          <p:spPr>
            <a:xfrm flipH="1">
              <a:off x="4227513" y="3576636"/>
              <a:ext cx="46037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C203EB08-1501-45D4-B5A8-53937DC946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27513" y="3519488"/>
              <a:ext cx="0" cy="57148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39EE4187-DDF2-4CD2-9B66-A2AB0C798933}"/>
                </a:ext>
              </a:extLst>
            </p:cNvPr>
            <p:cNvCxnSpPr/>
            <p:nvPr/>
          </p:nvCxnSpPr>
          <p:spPr>
            <a:xfrm flipH="1">
              <a:off x="4089400" y="3519487"/>
              <a:ext cx="138113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58BEF4C8-C068-4055-BCF5-0FB1ABC6E6A2}"/>
                </a:ext>
              </a:extLst>
            </p:cNvPr>
            <p:cNvCxnSpPr/>
            <p:nvPr/>
          </p:nvCxnSpPr>
          <p:spPr>
            <a:xfrm flipV="1">
              <a:off x="4089400" y="3484563"/>
              <a:ext cx="0" cy="34924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A8ABB13E-9AA8-46CB-AB38-13132F00CB80}"/>
                </a:ext>
              </a:extLst>
            </p:cNvPr>
            <p:cNvCxnSpPr/>
            <p:nvPr/>
          </p:nvCxnSpPr>
          <p:spPr>
            <a:xfrm flipH="1">
              <a:off x="3971925" y="3484563"/>
              <a:ext cx="117475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1ED8B204-2CED-4B8C-90E6-FCC165119A38}"/>
                </a:ext>
              </a:extLst>
            </p:cNvPr>
            <p:cNvCxnSpPr/>
            <p:nvPr/>
          </p:nvCxnSpPr>
          <p:spPr>
            <a:xfrm flipV="1">
              <a:off x="3971925" y="3467100"/>
              <a:ext cx="0" cy="17463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78545A24-0E10-4F3F-BF95-BB281D5ACE19}"/>
                </a:ext>
              </a:extLst>
            </p:cNvPr>
            <p:cNvCxnSpPr/>
            <p:nvPr/>
          </p:nvCxnSpPr>
          <p:spPr>
            <a:xfrm flipH="1">
              <a:off x="3878263" y="3467100"/>
              <a:ext cx="93662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ACAE3B21-46BC-471C-ABD5-4194FDE4DAFA}"/>
                </a:ext>
              </a:extLst>
            </p:cNvPr>
            <p:cNvCxnSpPr/>
            <p:nvPr/>
          </p:nvCxnSpPr>
          <p:spPr>
            <a:xfrm flipV="1">
              <a:off x="3878263" y="3429000"/>
              <a:ext cx="0" cy="3810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E2D04F77-2F68-4D0D-8508-16035C81D8F0}"/>
                </a:ext>
              </a:extLst>
            </p:cNvPr>
            <p:cNvCxnSpPr/>
            <p:nvPr/>
          </p:nvCxnSpPr>
          <p:spPr>
            <a:xfrm flipH="1">
              <a:off x="3808413" y="3429000"/>
              <a:ext cx="69850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C694D671-99C5-486A-A9BD-828E05471256}"/>
                </a:ext>
              </a:extLst>
            </p:cNvPr>
            <p:cNvCxnSpPr/>
            <p:nvPr/>
          </p:nvCxnSpPr>
          <p:spPr>
            <a:xfrm flipV="1">
              <a:off x="3810000" y="3389313"/>
              <a:ext cx="0" cy="39687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9A99725B-0D72-4C52-AF5E-4DDFB3A2813B}"/>
                </a:ext>
              </a:extLst>
            </p:cNvPr>
            <p:cNvCxnSpPr/>
            <p:nvPr/>
          </p:nvCxnSpPr>
          <p:spPr>
            <a:xfrm flipH="1">
              <a:off x="3623733" y="3389313"/>
              <a:ext cx="184680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4DB16B87-A49B-481F-9C3E-4AC8994DEE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23733" y="3344865"/>
              <a:ext cx="0" cy="44448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3675F474-FB02-4233-BBE3-17A36ECA0E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73450" y="3344865"/>
              <a:ext cx="148696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305C996F-B6BB-47B7-BA0C-A1ECEF2606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62338" y="3300414"/>
              <a:ext cx="4764" cy="44451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9F4D9428-0B1E-4F23-8BDD-A3051848F6C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44861" y="3294061"/>
              <a:ext cx="117478" cy="3176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94264CD2-A959-4F0F-BCE2-FAA7A434E10F}"/>
                </a:ext>
              </a:extLst>
            </p:cNvPr>
            <p:cNvCxnSpPr>
              <a:cxnSpLocks/>
            </p:cNvCxnSpPr>
            <p:nvPr/>
          </p:nvCxnSpPr>
          <p:spPr>
            <a:xfrm>
              <a:off x="3343275" y="3255963"/>
              <a:ext cx="0" cy="38098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47C23866-8B11-4D63-83BC-E0692098323D}"/>
                </a:ext>
              </a:extLst>
            </p:cNvPr>
            <p:cNvCxnSpPr>
              <a:cxnSpLocks/>
              <a:stCxn id="184" idx="17"/>
            </p:cNvCxnSpPr>
            <p:nvPr/>
          </p:nvCxnSpPr>
          <p:spPr>
            <a:xfrm flipV="1">
              <a:off x="3111500" y="3227241"/>
              <a:ext cx="0" cy="36659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2449F6DD-1CD7-42D9-8546-03C6355E668F}"/>
                </a:ext>
              </a:extLst>
            </p:cNvPr>
            <p:cNvCxnSpPr>
              <a:cxnSpLocks/>
            </p:cNvCxnSpPr>
            <p:nvPr/>
          </p:nvCxnSpPr>
          <p:spPr>
            <a:xfrm>
              <a:off x="1847718" y="2899568"/>
              <a:ext cx="1720" cy="5477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FF204BB-F1B6-4446-AB1B-E590E224861E}"/>
                </a:ext>
              </a:extLst>
            </p:cNvPr>
            <p:cNvCxnSpPr>
              <a:cxnSpLocks/>
              <a:stCxn id="184" idx="17"/>
            </p:cNvCxnSpPr>
            <p:nvPr/>
          </p:nvCxnSpPr>
          <p:spPr>
            <a:xfrm flipV="1">
              <a:off x="3111500" y="3255964"/>
              <a:ext cx="227013" cy="7936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37419C10-EC08-4ACD-8154-C34FD90FEBCD}"/>
                </a:ext>
              </a:extLst>
            </p:cNvPr>
            <p:cNvCxnSpPr>
              <a:cxnSpLocks/>
            </p:cNvCxnSpPr>
            <p:nvPr/>
          </p:nvCxnSpPr>
          <p:spPr>
            <a:xfrm>
              <a:off x="3013602" y="3220244"/>
              <a:ext cx="100011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F736F439-25A9-462B-B67B-F7D2D8500FAD}"/>
                </a:ext>
              </a:extLst>
            </p:cNvPr>
            <p:cNvCxnSpPr>
              <a:cxnSpLocks/>
            </p:cNvCxnSpPr>
            <p:nvPr/>
          </p:nvCxnSpPr>
          <p:spPr>
            <a:xfrm>
              <a:off x="2890304" y="3171829"/>
              <a:ext cx="121052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E79FC524-D8CB-452E-88CF-0973F0162980}"/>
                </a:ext>
              </a:extLst>
            </p:cNvPr>
            <p:cNvCxnSpPr>
              <a:cxnSpLocks/>
            </p:cNvCxnSpPr>
            <p:nvPr/>
          </p:nvCxnSpPr>
          <p:spPr>
            <a:xfrm>
              <a:off x="2661972" y="3140075"/>
              <a:ext cx="228866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5EF2BB97-C01D-4E4D-BBE7-DD9E7D8AED74}"/>
                </a:ext>
              </a:extLst>
            </p:cNvPr>
            <p:cNvCxnSpPr>
              <a:cxnSpLocks/>
            </p:cNvCxnSpPr>
            <p:nvPr/>
          </p:nvCxnSpPr>
          <p:spPr>
            <a:xfrm>
              <a:off x="2470415" y="3109914"/>
              <a:ext cx="188782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75E0B0EF-AFDC-455D-A4F3-356D700B8FAB}"/>
                </a:ext>
              </a:extLst>
            </p:cNvPr>
            <p:cNvCxnSpPr>
              <a:cxnSpLocks/>
            </p:cNvCxnSpPr>
            <p:nvPr/>
          </p:nvCxnSpPr>
          <p:spPr>
            <a:xfrm>
              <a:off x="2245587" y="3062288"/>
              <a:ext cx="221654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C6D15350-BE79-41C9-9640-2BB9433AB8EC}"/>
                </a:ext>
              </a:extLst>
            </p:cNvPr>
            <p:cNvCxnSpPr>
              <a:cxnSpLocks/>
            </p:cNvCxnSpPr>
            <p:nvPr/>
          </p:nvCxnSpPr>
          <p:spPr>
            <a:xfrm>
              <a:off x="1931988" y="3001963"/>
              <a:ext cx="22886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2DF35755-3D4B-4350-9EC9-1F8AA98AD091}"/>
                </a:ext>
              </a:extLst>
            </p:cNvPr>
            <p:cNvCxnSpPr>
              <a:cxnSpLocks/>
            </p:cNvCxnSpPr>
            <p:nvPr/>
          </p:nvCxnSpPr>
          <p:spPr>
            <a:xfrm>
              <a:off x="1933442" y="2992438"/>
              <a:ext cx="22886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AA16A5BA-76E8-4EAE-A5E9-E6699D3468C0}"/>
                </a:ext>
              </a:extLst>
            </p:cNvPr>
            <p:cNvCxnSpPr/>
            <p:nvPr/>
          </p:nvCxnSpPr>
          <p:spPr>
            <a:xfrm>
              <a:off x="2147358" y="3025773"/>
              <a:ext cx="10213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AE0715F3-B5B8-4149-B532-2A74DAF480C0}"/>
                </a:ext>
              </a:extLst>
            </p:cNvPr>
            <p:cNvCxnSpPr>
              <a:cxnSpLocks/>
            </p:cNvCxnSpPr>
            <p:nvPr/>
          </p:nvCxnSpPr>
          <p:spPr>
            <a:xfrm>
              <a:off x="2245587" y="3052761"/>
              <a:ext cx="216493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089CCC00-5E18-4F72-8125-189FB1666E41}"/>
                </a:ext>
              </a:extLst>
            </p:cNvPr>
            <p:cNvCxnSpPr>
              <a:cxnSpLocks/>
            </p:cNvCxnSpPr>
            <p:nvPr/>
          </p:nvCxnSpPr>
          <p:spPr>
            <a:xfrm>
              <a:off x="1847718" y="2954343"/>
              <a:ext cx="90619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2D620F00-6FD3-47AE-9E1D-E8FB16A79D52}"/>
                </a:ext>
              </a:extLst>
            </p:cNvPr>
            <p:cNvCxnSpPr>
              <a:cxnSpLocks/>
            </p:cNvCxnSpPr>
            <p:nvPr/>
          </p:nvCxnSpPr>
          <p:spPr>
            <a:xfrm>
              <a:off x="1498467" y="2901950"/>
              <a:ext cx="350971" cy="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C9B380FC-A93C-44BA-BDDD-0910FDF2AE53}"/>
                </a:ext>
              </a:extLst>
            </p:cNvPr>
            <p:cNvCxnSpPr>
              <a:cxnSpLocks/>
            </p:cNvCxnSpPr>
            <p:nvPr/>
          </p:nvCxnSpPr>
          <p:spPr>
            <a:xfrm>
              <a:off x="1935031" y="2951557"/>
              <a:ext cx="3306" cy="4842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2756DAED-11E9-4236-8CEE-376C6C602971}"/>
                </a:ext>
              </a:extLst>
            </p:cNvPr>
            <p:cNvCxnSpPr>
              <a:cxnSpLocks/>
            </p:cNvCxnSpPr>
            <p:nvPr/>
          </p:nvCxnSpPr>
          <p:spPr>
            <a:xfrm>
              <a:off x="2153245" y="2986878"/>
              <a:ext cx="860" cy="4366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8A52AD97-273D-4F14-AAEC-E8C6E73E4DFB}"/>
                </a:ext>
              </a:extLst>
            </p:cNvPr>
            <p:cNvCxnSpPr>
              <a:cxnSpLocks/>
            </p:cNvCxnSpPr>
            <p:nvPr/>
          </p:nvCxnSpPr>
          <p:spPr>
            <a:xfrm>
              <a:off x="2245587" y="3019421"/>
              <a:ext cx="860" cy="4366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89AC4609-01E7-45AD-8577-4A0F05287267}"/>
                </a:ext>
              </a:extLst>
            </p:cNvPr>
            <p:cNvCxnSpPr>
              <a:cxnSpLocks/>
            </p:cNvCxnSpPr>
            <p:nvPr/>
          </p:nvCxnSpPr>
          <p:spPr>
            <a:xfrm>
              <a:off x="2463171" y="3052764"/>
              <a:ext cx="7244" cy="54764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329FB00-32DB-4F4C-BD7B-27AE9695AC20}"/>
                </a:ext>
              </a:extLst>
            </p:cNvPr>
            <p:cNvCxnSpPr>
              <a:cxnSpLocks/>
            </p:cNvCxnSpPr>
            <p:nvPr/>
          </p:nvCxnSpPr>
          <p:spPr>
            <a:xfrm>
              <a:off x="2660650" y="3109912"/>
              <a:ext cx="631" cy="30163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F8E7F230-E2DA-4827-A74C-7E2DBE4B6697}"/>
                </a:ext>
              </a:extLst>
            </p:cNvPr>
            <p:cNvCxnSpPr>
              <a:cxnSpLocks/>
            </p:cNvCxnSpPr>
            <p:nvPr/>
          </p:nvCxnSpPr>
          <p:spPr>
            <a:xfrm>
              <a:off x="2890304" y="3143250"/>
              <a:ext cx="1225" cy="1905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0CFDEC73-56D1-4821-A5BC-54FF87D28239}"/>
                </a:ext>
              </a:extLst>
            </p:cNvPr>
            <p:cNvCxnSpPr>
              <a:cxnSpLocks/>
            </p:cNvCxnSpPr>
            <p:nvPr/>
          </p:nvCxnSpPr>
          <p:spPr>
            <a:xfrm>
              <a:off x="3011356" y="3174443"/>
              <a:ext cx="0" cy="42468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620DA455-76A1-48A6-892C-F782AD57471C}"/>
                </a:ext>
              </a:extLst>
            </p:cNvPr>
            <p:cNvSpPr txBox="1"/>
            <p:nvPr/>
          </p:nvSpPr>
          <p:spPr>
            <a:xfrm>
              <a:off x="5440363" y="3727450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F0, F1</a:t>
              </a: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759DBDE9-4CCF-4459-8600-9934499BC362}"/>
                </a:ext>
              </a:extLst>
            </p:cNvPr>
            <p:cNvSpPr txBox="1"/>
            <p:nvPr/>
          </p:nvSpPr>
          <p:spPr>
            <a:xfrm>
              <a:off x="5539839" y="4062972"/>
              <a:ext cx="138033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Non-NAFLD</a:t>
              </a: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B7A71B47-D338-4390-8EC8-F5DC79C9D9A7}"/>
                </a:ext>
              </a:extLst>
            </p:cNvPr>
            <p:cNvSpPr txBox="1"/>
            <p:nvPr/>
          </p:nvSpPr>
          <p:spPr>
            <a:xfrm>
              <a:off x="5524500" y="4477385"/>
              <a:ext cx="138033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F2</a:t>
              </a: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34B5952C-BDFD-4673-8E54-4DB1FA311428}"/>
                </a:ext>
              </a:extLst>
            </p:cNvPr>
            <p:cNvSpPr txBox="1"/>
            <p:nvPr/>
          </p:nvSpPr>
          <p:spPr>
            <a:xfrm>
              <a:off x="5033010" y="4690642"/>
              <a:ext cx="138033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F3</a:t>
              </a:r>
            </a:p>
          </p:txBody>
        </p: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397FE5AD-AD29-45A9-81D4-A8D354A43EA9}"/>
                </a:ext>
              </a:extLst>
            </p:cNvPr>
            <p:cNvSpPr txBox="1"/>
            <p:nvPr/>
          </p:nvSpPr>
          <p:spPr>
            <a:xfrm>
              <a:off x="3963194" y="4845762"/>
              <a:ext cx="138033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F4 (cirrhosis)</a:t>
              </a: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A70B5887-DC9C-48A9-B2D4-E21FAAFF04AA}"/>
                </a:ext>
              </a:extLst>
            </p:cNvPr>
            <p:cNvSpPr txBox="1"/>
            <p:nvPr/>
          </p:nvSpPr>
          <p:spPr>
            <a:xfrm>
              <a:off x="1549798" y="4882594"/>
              <a:ext cx="138033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Log-rank p&lt;0.001</a:t>
              </a: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1E87E50E-04D3-4E7B-B533-4CD1AAB9C060}"/>
                </a:ext>
              </a:extLst>
            </p:cNvPr>
            <p:cNvSpPr txBox="1"/>
            <p:nvPr/>
          </p:nvSpPr>
          <p:spPr>
            <a:xfrm>
              <a:off x="873658" y="2711055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1.00</a:t>
              </a: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EF5B5F43-81DB-454A-BC58-C6E3B12987FD}"/>
                </a:ext>
              </a:extLst>
            </p:cNvPr>
            <p:cNvSpPr txBox="1"/>
            <p:nvPr/>
          </p:nvSpPr>
          <p:spPr>
            <a:xfrm>
              <a:off x="890589" y="3288296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.75</a:t>
              </a: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8F7528C3-7F10-4B8D-BA95-C0B6DE25210B}"/>
                </a:ext>
              </a:extLst>
            </p:cNvPr>
            <p:cNvCxnSpPr/>
            <p:nvPr/>
          </p:nvCxnSpPr>
          <p:spPr>
            <a:xfrm flipH="1">
              <a:off x="1445684" y="2863215"/>
              <a:ext cx="44450" cy="0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1E43AF0-5B29-4443-88DB-5FE659071E59}"/>
                </a:ext>
              </a:extLst>
            </p:cNvPr>
            <p:cNvCxnSpPr/>
            <p:nvPr/>
          </p:nvCxnSpPr>
          <p:spPr>
            <a:xfrm flipH="1">
              <a:off x="1441715" y="3467100"/>
              <a:ext cx="44450" cy="0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D17CB05D-E99F-4CD8-BC7B-A4045CD92524}"/>
                </a:ext>
              </a:extLst>
            </p:cNvPr>
            <p:cNvCxnSpPr/>
            <p:nvPr/>
          </p:nvCxnSpPr>
          <p:spPr>
            <a:xfrm flipH="1">
              <a:off x="1445684" y="4033838"/>
              <a:ext cx="44450" cy="0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F3915E2E-6308-4A55-80F9-EE9C3CAEE27D}"/>
                </a:ext>
              </a:extLst>
            </p:cNvPr>
            <p:cNvCxnSpPr/>
            <p:nvPr/>
          </p:nvCxnSpPr>
          <p:spPr>
            <a:xfrm flipH="1">
              <a:off x="1441715" y="4613277"/>
              <a:ext cx="44450" cy="0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025A270F-3A9D-4C08-80DA-956ED778C707}"/>
                </a:ext>
              </a:extLst>
            </p:cNvPr>
            <p:cNvCxnSpPr/>
            <p:nvPr/>
          </p:nvCxnSpPr>
          <p:spPr>
            <a:xfrm flipH="1">
              <a:off x="1441715" y="5186680"/>
              <a:ext cx="44450" cy="0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EF745017-954B-459A-9BFC-C065B0B77B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16056" y="5186680"/>
              <a:ext cx="0" cy="52387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8" name="Straight Connector 277">
              <a:extLst>
                <a:ext uri="{FF2B5EF4-FFF2-40B4-BE49-F238E27FC236}">
                  <a16:creationId xmlns:a16="http://schemas.microsoft.com/office/drawing/2014/main" id="{7061FE43-BA24-477F-9FB4-F7374CDDB2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32056" y="5190333"/>
              <a:ext cx="0" cy="52387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BFC24A01-CA80-4551-A6F7-906123C565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83112" y="5195570"/>
              <a:ext cx="0" cy="52387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0DE9A602-39C3-434D-BCAB-242B26539A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07050" y="5189061"/>
              <a:ext cx="0" cy="52387"/>
            </a:xfrm>
            <a:prstGeom prst="line">
              <a:avLst/>
            </a:prstGeom>
            <a:ln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A956ACC2-90FC-46A8-B2A1-90B71C3C9DC7}"/>
                </a:ext>
              </a:extLst>
            </p:cNvPr>
            <p:cNvSpPr txBox="1"/>
            <p:nvPr/>
          </p:nvSpPr>
          <p:spPr>
            <a:xfrm>
              <a:off x="890589" y="3857600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.50</a:t>
              </a: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F4C45053-50FC-4B32-A90B-70A93A3369E7}"/>
                </a:ext>
              </a:extLst>
            </p:cNvPr>
            <p:cNvSpPr txBox="1"/>
            <p:nvPr/>
          </p:nvSpPr>
          <p:spPr>
            <a:xfrm>
              <a:off x="890589" y="4421108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.25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6E32CEE2-89F4-4C7E-AE30-F51BD8CCB410}"/>
                </a:ext>
              </a:extLst>
            </p:cNvPr>
            <p:cNvSpPr txBox="1"/>
            <p:nvPr/>
          </p:nvSpPr>
          <p:spPr>
            <a:xfrm>
              <a:off x="890589" y="4996578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EA429412-B392-4765-B451-64FD0361ACD1}"/>
                </a:ext>
              </a:extLst>
            </p:cNvPr>
            <p:cNvSpPr txBox="1"/>
            <p:nvPr/>
          </p:nvSpPr>
          <p:spPr>
            <a:xfrm>
              <a:off x="978299" y="5229227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D112CA59-4E17-45DC-94A9-C2A4CBBAF354}"/>
                </a:ext>
              </a:extLst>
            </p:cNvPr>
            <p:cNvSpPr txBox="1"/>
            <p:nvPr/>
          </p:nvSpPr>
          <p:spPr>
            <a:xfrm>
              <a:off x="2050521" y="5229227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10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28820CCB-5DF9-4B42-B738-4E0E79FA5164}"/>
                </a:ext>
              </a:extLst>
            </p:cNvPr>
            <p:cNvSpPr txBox="1"/>
            <p:nvPr/>
          </p:nvSpPr>
          <p:spPr>
            <a:xfrm>
              <a:off x="3063608" y="5225522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7B2F6E52-584A-4ABC-AE7F-2B316D21F9BD}"/>
                </a:ext>
              </a:extLst>
            </p:cNvPr>
            <p:cNvSpPr txBox="1"/>
            <p:nvPr/>
          </p:nvSpPr>
          <p:spPr>
            <a:xfrm>
              <a:off x="4093105" y="5221763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30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A9BF6489-E6B3-4576-A857-81A532565DFD}"/>
                </a:ext>
              </a:extLst>
            </p:cNvPr>
            <p:cNvSpPr txBox="1"/>
            <p:nvPr/>
          </p:nvSpPr>
          <p:spPr>
            <a:xfrm>
              <a:off x="5130800" y="5219321"/>
              <a:ext cx="63460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682E57DA-1B6F-4192-B948-E38D94DE9CF5}"/>
                </a:ext>
              </a:extLst>
            </p:cNvPr>
            <p:cNvSpPr txBox="1"/>
            <p:nvPr/>
          </p:nvSpPr>
          <p:spPr>
            <a:xfrm rot="16200000">
              <a:off x="268095" y="3824391"/>
              <a:ext cx="138033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Proportion Alive</a:t>
              </a: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21B35768-9C30-4932-B002-E939385FE61F}"/>
                </a:ext>
              </a:extLst>
            </p:cNvPr>
            <p:cNvCxnSpPr/>
            <p:nvPr/>
          </p:nvCxnSpPr>
          <p:spPr>
            <a:xfrm flipV="1">
              <a:off x="4540250" y="3813175"/>
              <a:ext cx="0" cy="50800"/>
            </a:xfrm>
            <a:prstGeom prst="line">
              <a:avLst/>
            </a:prstGeom>
            <a:ln cap="sq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D3F28CB-CED8-4ADA-950C-0EE5D57E0427}"/>
              </a:ext>
            </a:extLst>
          </p:cNvPr>
          <p:cNvSpPr txBox="1"/>
          <p:nvPr/>
        </p:nvSpPr>
        <p:spPr>
          <a:xfrm>
            <a:off x="2960687" y="5076763"/>
            <a:ext cx="32464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Verdana" panose="020B0604030504040204" pitchFamily="34" charset="0"/>
                <a:ea typeface="Verdana" panose="020B0604030504040204" pitchFamily="34" charset="0"/>
              </a:rPr>
              <a:t>Years of follow-up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4A5EA75-4F82-2EF1-EB1B-2B50E5DD51D6}"/>
              </a:ext>
            </a:extLst>
          </p:cNvPr>
          <p:cNvSpPr txBox="1">
            <a:spLocks/>
          </p:cNvSpPr>
          <p:nvPr/>
        </p:nvSpPr>
        <p:spPr>
          <a:xfrm>
            <a:off x="384417" y="133201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Liver fibrosis is associated with negative outcomes in </a:t>
            </a:r>
            <a:br>
              <a:rPr lang="en-GB" dirty="0"/>
            </a:br>
            <a:r>
              <a:rPr lang="en-GB" dirty="0"/>
              <a:t>patients with MAFLD</a:t>
            </a:r>
          </a:p>
        </p:txBody>
      </p:sp>
    </p:spTree>
    <p:extLst>
      <p:ext uri="{BB962C8B-B14F-4D97-AF65-F5344CB8AC3E}">
        <p14:creationId xmlns:p14="http://schemas.microsoft.com/office/powerpoint/2010/main" val="2247436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9671663-D3FC-FE46-A2C1-6882CFBCBA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776545"/>
              </p:ext>
            </p:extLst>
          </p:nvPr>
        </p:nvGraphicFramePr>
        <p:xfrm>
          <a:off x="623888" y="1294924"/>
          <a:ext cx="11052175" cy="43755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69093">
                  <a:extLst>
                    <a:ext uri="{9D8B030D-6E8A-4147-A177-3AD203B41FA5}">
                      <a16:colId xmlns:a16="http://schemas.microsoft.com/office/drawing/2014/main" val="2615838088"/>
                    </a:ext>
                  </a:extLst>
                </a:gridCol>
                <a:gridCol w="8483082">
                  <a:extLst>
                    <a:ext uri="{9D8B030D-6E8A-4147-A177-3AD203B41FA5}">
                      <a16:colId xmlns:a16="http://schemas.microsoft.com/office/drawing/2014/main" val="1322769731"/>
                    </a:ext>
                  </a:extLst>
                </a:gridCol>
              </a:tblGrid>
              <a:tr h="417907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Factors</a:t>
                      </a:r>
                      <a:endParaRPr lang="en-GB" sz="16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etails</a:t>
                      </a:r>
                      <a:endParaRPr lang="en-GB" sz="16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532205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Gender</a:t>
                      </a:r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Men and post-menopausal women have a higher risk of fibrosis vs pre-menopausal women; estrogen inhibits stellate cell activation and fibrogenesis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,2</a:t>
                      </a:r>
                      <a:endParaRPr lang="en-US" sz="1200" baseline="300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8671452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Age</a:t>
                      </a:r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Increase in age is associated with more severe fibrosis in patients with NASH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9585401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T2DM</a:t>
                      </a:r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The emergence of T2DM parallels fibrosis progression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2956715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BMI</a:t>
                      </a:r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An increase or decrease in BMI has been associated with progression or resolution of liver fibrosis, respectively, in patients with NAFLD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endParaRPr lang="en-US" sz="1200" baseline="300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9849451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First-degree relative with NAFLD cirrho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o-RO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Hepatic steatosis and </a:t>
                      </a:r>
                      <a:r>
                        <a:rPr lang="en-GB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h</a:t>
                      </a:r>
                      <a:r>
                        <a:rPr lang="ro-RO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epatic fibrosis are heritable traits, and have significant shared gene effects</a:t>
                      </a:r>
                      <a:endParaRPr lang="en-US" sz="1200" baseline="300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0642975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Inflammation </a:t>
                      </a:r>
                      <a:endParaRPr lang="en-US" sz="1200" b="1" baseline="300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The degree of inflammation is associated with progression to advanced fibrosis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7916052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AST/ALT ratio </a:t>
                      </a:r>
                      <a:endParaRPr lang="en-US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atio&gt;1 is a risk factor for progression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0449403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Hepatic iron deposits, or hemochromatosis</a:t>
                      </a:r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Iron accumulation in hepatocytes is linked to mild NAFLD</a:t>
                      </a:r>
                      <a:r>
                        <a:rPr lang="en-US" sz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endParaRPr lang="en-GB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7907942"/>
                  </a:ext>
                </a:extLst>
              </a:tr>
              <a:tr h="417907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Polymorphisms in the PNPLA3 and TM6SF2 genes</a:t>
                      </a:r>
                      <a:endParaRPr lang="en-GB" sz="1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These </a:t>
                      </a:r>
                      <a:r>
                        <a:rPr lang="en-GB" sz="1200" kern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genes code </a:t>
                      </a:r>
                      <a:r>
                        <a:rPr lang="en-US" sz="1200" kern="12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for proteins responsible for the production and breakdown of fats</a:t>
                      </a:r>
                      <a:r>
                        <a:rPr lang="en-US" sz="1200" kern="1200" baseline="30000" dirty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endParaRPr lang="en-GB" sz="1200" kern="1200" baseline="30000" dirty="0">
                        <a:solidFill>
                          <a:schemeClr val="dk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3506908"/>
                  </a:ext>
                </a:extLst>
              </a:tr>
            </a:tbl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664EC2E8-8CA8-0B45-999B-0DC0BBB71F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9930" y="311896"/>
            <a:ext cx="1586133" cy="1353611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9F49D71-58CB-D85F-FAAE-C14818A773D2}"/>
              </a:ext>
            </a:extLst>
          </p:cNvPr>
          <p:cNvSpPr txBox="1">
            <a:spLocks/>
          </p:cNvSpPr>
          <p:nvPr/>
        </p:nvSpPr>
        <p:spPr>
          <a:xfrm>
            <a:off x="710214" y="6321197"/>
            <a:ext cx="6297998" cy="3333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14AAD59-CAE7-EF77-11DE-39AF1CBF038A}"/>
              </a:ext>
            </a:extLst>
          </p:cNvPr>
          <p:cNvSpPr txBox="1"/>
          <p:nvPr/>
        </p:nvSpPr>
        <p:spPr>
          <a:xfrm>
            <a:off x="1404939" y="6257052"/>
            <a:ext cx="98536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800" dirty="0">
                <a:latin typeface="Verdana" panose="020B0604030504040204" pitchFamily="34" charset="0"/>
                <a:ea typeface="Verdana" panose="020B0604030504040204" pitchFamily="34" charset="0"/>
              </a:rPr>
              <a:t>ALT, alanine transaminase; AST, aspartate aminotransferase; BMI, body mass index; NAFLD, non-alcoholic fatty liver disease; NASH, non-alcoholic steatohepatitis; PNPLA3, </a:t>
            </a:r>
            <a:r>
              <a:rPr lang="en-ZA" sz="800" dirty="0" err="1">
                <a:latin typeface="Verdana" panose="020B0604030504040204" pitchFamily="34" charset="0"/>
                <a:ea typeface="Verdana" panose="020B0604030504040204" pitchFamily="34" charset="0"/>
              </a:rPr>
              <a:t>patatin</a:t>
            </a:r>
            <a:r>
              <a:rPr lang="en-ZA" sz="800" dirty="0">
                <a:latin typeface="Verdana" panose="020B0604030504040204" pitchFamily="34" charset="0"/>
                <a:ea typeface="Verdana" panose="020B0604030504040204" pitchFamily="34" charset="0"/>
              </a:rPr>
              <a:t>-like phospholipase domain-containing protein 3; T2DM, Type 2 diabetes mellitus; TM6SF2, transmembrane 6 superfamily 2</a:t>
            </a:r>
          </a:p>
          <a:p>
            <a:r>
              <a:rPr lang="en-ZA" sz="800" dirty="0"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lang="en-ZA" sz="800" dirty="0" err="1">
                <a:latin typeface="Verdana" panose="020B0604030504040204" pitchFamily="34" charset="0"/>
                <a:ea typeface="Verdana" panose="020B0604030504040204" pitchFamily="34" charset="0"/>
              </a:rPr>
              <a:t>Bertot</a:t>
            </a:r>
            <a:r>
              <a:rPr lang="en-ZA" sz="800" dirty="0">
                <a:latin typeface="Verdana" panose="020B0604030504040204" pitchFamily="34" charset="0"/>
                <a:ea typeface="Verdana" panose="020B0604030504040204" pitchFamily="34" charset="0"/>
              </a:rPr>
              <a:t> LC &amp; Adams LA. Int J Mol Sci 2016;17:774; 2. Yang JD, et al. Hepatology 2014;59:1406–14; 3. Croke B &amp; Sampson D. Journal for Nurse Practitioners 2012;8:45–50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0567BC-A8CC-13FF-AA17-AAB31FD80D07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Predictors of MAFLD progression to fibrosis </a:t>
            </a:r>
          </a:p>
        </p:txBody>
      </p:sp>
    </p:spTree>
    <p:extLst>
      <p:ext uri="{BB962C8B-B14F-4D97-AF65-F5344CB8AC3E}">
        <p14:creationId xmlns:p14="http://schemas.microsoft.com/office/powerpoint/2010/main" val="10241478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0">
            <a:extLst>
              <a:ext uri="{FF2B5EF4-FFF2-40B4-BE49-F238E27FC236}">
                <a16:creationId xmlns:a16="http://schemas.microsoft.com/office/drawing/2014/main" id="{0DDFA5E4-5865-9D45-8827-71E7036A5EB5}"/>
              </a:ext>
            </a:extLst>
          </p:cNvPr>
          <p:cNvSpPr/>
          <p:nvPr/>
        </p:nvSpPr>
        <p:spPr>
          <a:xfrm>
            <a:off x="3162713" y="1030391"/>
            <a:ext cx="6741132" cy="571532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linical or laboratory </a:t>
            </a:r>
            <a:r>
              <a:rPr lang="en-US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ores</a:t>
            </a:r>
            <a:endParaRPr kumimoji="0" lang="en-US" sz="2000" b="1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BCA17FF-BCCA-6B46-FEFC-6E2613522675}"/>
              </a:ext>
            </a:extLst>
          </p:cNvPr>
          <p:cNvGrpSpPr/>
          <p:nvPr/>
        </p:nvGrpSpPr>
        <p:grpSpPr>
          <a:xfrm>
            <a:off x="10498" y="1647412"/>
            <a:ext cx="12171006" cy="1020549"/>
            <a:chOff x="10498" y="1504537"/>
            <a:chExt cx="12171006" cy="102054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AA3504F-ABB1-D157-3620-987DD0C08E93}"/>
                </a:ext>
              </a:extLst>
            </p:cNvPr>
            <p:cNvSpPr/>
            <p:nvPr/>
          </p:nvSpPr>
          <p:spPr>
            <a:xfrm>
              <a:off x="10498" y="1504537"/>
              <a:ext cx="12171006" cy="102054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B493D80-9386-524B-8FA0-EF2239113327}"/>
                </a:ext>
              </a:extLst>
            </p:cNvPr>
            <p:cNvSpPr/>
            <p:nvPr/>
          </p:nvSpPr>
          <p:spPr>
            <a:xfrm>
              <a:off x="1032921" y="1830145"/>
              <a:ext cx="97654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dirty="0"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Simple</a:t>
              </a:r>
              <a:endParaRPr lang="en-US" baseline="300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0CC39C8-1F93-ED48-98CA-FBD5CA75C7D1}"/>
                </a:ext>
              </a:extLst>
            </p:cNvPr>
            <p:cNvSpPr/>
            <p:nvPr/>
          </p:nvSpPr>
          <p:spPr>
            <a:xfrm>
              <a:off x="3162713" y="1583924"/>
              <a:ext cx="6096000" cy="86177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34290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Fibrosis-4 (FIB-4) index</a:t>
              </a:r>
              <a:endParaRPr lang="en-GB" sz="1600" baseline="30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NAFLD fibrosis score (NFS)</a:t>
              </a:r>
              <a:endParaRPr lang="en-GB" sz="1600" baseline="30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AST/platelet ratio index</a:t>
              </a:r>
              <a:endParaRPr lang="en-GB" sz="1600" baseline="30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0E27BC8-6271-BEA8-2D0C-C6B574A69FA5}"/>
              </a:ext>
            </a:extLst>
          </p:cNvPr>
          <p:cNvGrpSpPr/>
          <p:nvPr/>
        </p:nvGrpSpPr>
        <p:grpSpPr>
          <a:xfrm>
            <a:off x="8389" y="2890678"/>
            <a:ext cx="12171006" cy="1122671"/>
            <a:chOff x="8389" y="2594539"/>
            <a:chExt cx="12171006" cy="112267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429C1B3-5A46-9E43-94CC-0B8C720DF538}"/>
                </a:ext>
              </a:extLst>
            </p:cNvPr>
            <p:cNvSpPr/>
            <p:nvPr/>
          </p:nvSpPr>
          <p:spPr>
            <a:xfrm>
              <a:off x="8389" y="2594539"/>
              <a:ext cx="12171006" cy="112267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C457261-25FC-4A49-A683-2C35EF29D8CE}"/>
                </a:ext>
              </a:extLst>
            </p:cNvPr>
            <p:cNvSpPr/>
            <p:nvPr/>
          </p:nvSpPr>
          <p:spPr>
            <a:xfrm>
              <a:off x="1052157" y="2971208"/>
              <a:ext cx="1468671" cy="3693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lvl="0" algn="ctr">
                <a:defRPr/>
              </a:pPr>
              <a:r>
                <a:rPr lang="en-US" dirty="0"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Proprietary</a:t>
              </a:r>
              <a:endParaRPr lang="en-US" baseline="300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2B34210-D453-8F41-BE04-90DD7D3AC332}"/>
                </a:ext>
              </a:extLst>
            </p:cNvPr>
            <p:cNvSpPr/>
            <p:nvPr/>
          </p:nvSpPr>
          <p:spPr>
            <a:xfrm>
              <a:off x="3162713" y="2617265"/>
              <a:ext cx="6096000" cy="1077218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marL="34290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Enhanced liver fibrosis panel </a:t>
              </a:r>
              <a:r>
                <a:rPr lang="en-US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(ELF)</a:t>
              </a:r>
            </a:p>
            <a:p>
              <a:pPr marL="342900" lvl="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NIS4*</a:t>
              </a:r>
            </a:p>
            <a:p>
              <a:pPr marL="342900" lvl="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FibroSURE</a:t>
              </a:r>
              <a:r>
                <a:rPr lang="en-US" sz="1600" baseline="300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TM</a:t>
              </a:r>
              <a:r>
                <a:rPr lang="en-US" sz="1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 </a:t>
              </a:r>
              <a:endParaRPr lang="en-US" sz="1600" baseline="30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600" dirty="0" err="1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Hepascore</a:t>
              </a:r>
              <a:endParaRPr lang="en-GB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3B3C567-4B25-8F7E-C0C2-07CD18CCCD37}"/>
              </a:ext>
            </a:extLst>
          </p:cNvPr>
          <p:cNvGrpSpPr/>
          <p:nvPr/>
        </p:nvGrpSpPr>
        <p:grpSpPr>
          <a:xfrm>
            <a:off x="8389" y="4236065"/>
            <a:ext cx="12171006" cy="1513414"/>
            <a:chOff x="8389" y="4093190"/>
            <a:chExt cx="12171006" cy="151341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3BF0B85-9574-5905-EB1F-C25F36D1DE78}"/>
                </a:ext>
              </a:extLst>
            </p:cNvPr>
            <p:cNvSpPr/>
            <p:nvPr/>
          </p:nvSpPr>
          <p:spPr>
            <a:xfrm>
              <a:off x="8389" y="4093190"/>
              <a:ext cx="12171006" cy="151341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A1D5FFE-E5BA-A143-B45B-4562C3FC3338}"/>
                </a:ext>
              </a:extLst>
            </p:cNvPr>
            <p:cNvSpPr/>
            <p:nvPr/>
          </p:nvSpPr>
          <p:spPr>
            <a:xfrm>
              <a:off x="1038531" y="4649842"/>
              <a:ext cx="139653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sz="2000" b="1" dirty="0"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Imaging</a:t>
              </a:r>
              <a:endParaRPr lang="en-US" sz="2000" b="1" baseline="300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Rectangle: Rounded Corners 9">
              <a:extLst>
                <a:ext uri="{FF2B5EF4-FFF2-40B4-BE49-F238E27FC236}">
                  <a16:creationId xmlns:a16="http://schemas.microsoft.com/office/drawing/2014/main" id="{B1F3E86A-CEBD-1144-92A4-AD0791BEB8C1}"/>
                </a:ext>
              </a:extLst>
            </p:cNvPr>
            <p:cNvSpPr/>
            <p:nvPr/>
          </p:nvSpPr>
          <p:spPr>
            <a:xfrm>
              <a:off x="3162713" y="4183790"/>
              <a:ext cx="6722266" cy="1332215"/>
            </a:xfrm>
            <a:prstGeom prst="roundRect">
              <a:avLst>
                <a:gd name="adj" fmla="val 0"/>
              </a:avLst>
            </a:prstGeom>
            <a:noFill/>
            <a:ln w="25400"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Transient elastography (</a:t>
              </a:r>
              <a:r>
                <a:rPr kumimoji="0" lang="en-GB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FibroScan</a:t>
              </a:r>
              <a:r>
                <a:rPr kumimoji="0" lang="en-GB" sz="1600" b="0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TM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)</a:t>
              </a:r>
              <a:endPara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indent="-342900" eaLnBrk="1" fontAlgn="auto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600" b="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Shear wave elastography: point, 2D</a:t>
              </a:r>
              <a:endParaRPr lang="en-GB" sz="1600" b="0" baseline="30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Magnetic resonance elastography</a:t>
              </a:r>
              <a:endParaRPr kumimoji="0" lang="en-GB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indent="-342900" eaLnBrk="1" fontAlgn="auto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600" b="0" u="none" baseline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Corrected T1 (</a:t>
              </a:r>
              <a:r>
                <a:rPr lang="en-US" sz="1600" b="0" i="1" u="none" baseline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Liver MultiScan</a:t>
              </a:r>
              <a:r>
                <a:rPr lang="en-US" sz="1600" b="0" u="none" baseline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)</a:t>
              </a:r>
              <a:endParaRPr lang="en-US" sz="1600" b="0" u="none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342900" indent="-342900" eaLnBrk="1" fontAlgn="auto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600" b="0" kern="12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FAST Score</a:t>
              </a:r>
              <a:endParaRPr lang="en-US" sz="1600" b="0" kern="1200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207C487-3EB1-8873-8356-6CA737AA8777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Non-invasive tests in MAFL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247CC8-0E42-E658-62D4-B7C3F71D68A9}"/>
              </a:ext>
            </a:extLst>
          </p:cNvPr>
          <p:cNvSpPr txBox="1"/>
          <p:nvPr/>
        </p:nvSpPr>
        <p:spPr>
          <a:xfrm>
            <a:off x="1404939" y="6208564"/>
            <a:ext cx="99789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*A blood-based biomarker panel. </a:t>
            </a:r>
            <a:r>
              <a:rPr kumimoji="0" lang="en-US" altLang="en-US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lkhouri</a:t>
            </a: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N, et al. Gastroenterol Hepatol 2012;8:661;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aniels SJ, et al. Hepatology 2019;69:1075</a:t>
            </a:r>
            <a:r>
              <a:rPr lang="en-US" sz="8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;</a:t>
            </a: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EASL. J Hepatol. 2015;63:237; 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</a:t>
            </a:r>
            <a:r>
              <a:rPr kumimoji="0" lang="da-DK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ilman</a:t>
            </a:r>
            <a:r>
              <a:rPr kumimoji="0" lang="da-DK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IS, et al. </a:t>
            </a:r>
            <a:r>
              <a:rPr kumimoji="0" lang="da-DK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Radiology</a:t>
            </a:r>
            <a:r>
              <a:rPr kumimoji="0" lang="da-DK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2013;267:767;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Jayaswal A, et al. AASLD 2018; </a:t>
            </a:r>
            <a:r>
              <a:rPr kumimoji="0" lang="en-US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bstr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1042, Available at: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  <a:hlinkClick r:id="rId4"/>
              </a:rPr>
              <a:t>https://ora.ox.ac.uk/objects/uuid:1373441b-a98c-45f6-9fa5-0d1086540f3e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[last accessed June 2023]; 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Jayaswal ANA, et al. Liver Int 2020;40:3071; </a:t>
            </a:r>
            <a:r>
              <a:rPr kumimoji="0" lang="en-US" altLang="en-US" sz="800" b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ewsome PN, et al. Lancet Gastroenterol Hepatol 2020;5:362; </a:t>
            </a:r>
            <a:r>
              <a:rPr lang="en-US" altLang="en-US" sz="800" b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igrist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RMS, et al. </a:t>
            </a:r>
            <a:r>
              <a:rPr lang="en-US" altLang="en-US" sz="800" b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heranostics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2017;7:1303; Harrison SA, et al. Lancet Gastroenterol Hepatol 2020;5:970.</a:t>
            </a:r>
            <a:endParaRPr kumimoji="0" lang="en-US" altLang="en-US" sz="800" b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07353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Group 3">
            <a:extLst>
              <a:ext uri="{FF2B5EF4-FFF2-40B4-BE49-F238E27FC236}">
                <a16:creationId xmlns:a16="http://schemas.microsoft.com/office/drawing/2014/main" id="{AEE44111-DEA9-461C-AF40-121BAE812D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2622081"/>
              </p:ext>
            </p:extLst>
          </p:nvPr>
        </p:nvGraphicFramePr>
        <p:xfrm>
          <a:off x="5093433" y="1687710"/>
          <a:ext cx="2021832" cy="2413334"/>
        </p:xfrm>
        <a:graphic>
          <a:graphicData uri="http://schemas.openxmlformats.org/drawingml/2006/table">
            <a:tbl>
              <a:tblPr/>
              <a:tblGrid>
                <a:gridCol w="2021832">
                  <a:extLst>
                    <a:ext uri="{9D8B030D-6E8A-4147-A177-3AD203B41FA5}">
                      <a16:colId xmlns:a16="http://schemas.microsoft.com/office/drawing/2014/main" val="3902104245"/>
                    </a:ext>
                  </a:extLst>
                </a:gridCol>
              </a:tblGrid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Parameter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75511"/>
                  </a:ext>
                </a:extLst>
              </a:tr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Age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33327"/>
                  </a:ext>
                </a:extLst>
              </a:tr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AST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1697816"/>
                  </a:ext>
                </a:extLst>
              </a:tr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ALT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517326"/>
                  </a:ext>
                </a:extLst>
              </a:tr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Platelet count</a:t>
                      </a:r>
                      <a:endParaRPr kumimoji="0" lang="en-US" altLang="en-US" sz="1200" b="0" i="0" u="none" strike="noStrike" cap="none" normalizeH="0" baseline="30000" dirty="0">
                        <a:ln>
                          <a:noFill/>
                        </a:ln>
                        <a:solidFill>
                          <a:srgbClr val="141415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612646"/>
                  </a:ext>
                </a:extLst>
              </a:tr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BMI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365547"/>
                  </a:ext>
                </a:extLst>
              </a:tr>
              <a:tr h="27252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Albumin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0066542"/>
                  </a:ext>
                </a:extLst>
              </a:tr>
              <a:tr h="463356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panose="05000000000000000000" pitchFamily="2" charset="2"/>
                        <a:defRPr sz="24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2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 sz="2000"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panose="020B0604020202020204" pitchFamily="34" charset="0"/>
                        <a:defRPr>
                          <a:solidFill>
                            <a:srgbClr val="FEFDDE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Impaired fasting glucose/diabetes</a:t>
                      </a:r>
                    </a:p>
                  </a:txBody>
                  <a:tcPr marL="110471" marR="110471" marT="45667" marB="4566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6677356"/>
                  </a:ext>
                </a:extLst>
              </a:tr>
            </a:tbl>
          </a:graphicData>
        </a:graphic>
      </p:graphicFrame>
      <p:graphicFrame>
        <p:nvGraphicFramePr>
          <p:cNvPr id="42" name="Group 3">
            <a:extLst>
              <a:ext uri="{FF2B5EF4-FFF2-40B4-BE49-F238E27FC236}">
                <a16:creationId xmlns:a16="http://schemas.microsoft.com/office/drawing/2014/main" id="{90AC2EE0-3313-43AA-B4B0-B7C264FC43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611569"/>
              </p:ext>
            </p:extLst>
          </p:nvPr>
        </p:nvGraphicFramePr>
        <p:xfrm>
          <a:off x="950464" y="2210558"/>
          <a:ext cx="3397658" cy="1427352"/>
        </p:xfrm>
        <a:graphic>
          <a:graphicData uri="http://schemas.openxmlformats.org/drawingml/2006/table">
            <a:tbl>
              <a:tblPr/>
              <a:tblGrid>
                <a:gridCol w="9610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39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27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293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GB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FS</a:t>
                      </a:r>
                      <a:endParaRPr kumimoji="0" lang="en-GB" altLang="en-US" sz="12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bg1">
                            <a:lumMod val="85000"/>
                            <a:lumOff val="1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Effect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PV or PPV, %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54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&lt;–1.455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Rules out fibrosis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88–93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554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&gt;0.676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Predicts fibrosis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82–90</a:t>
                      </a:r>
                    </a:p>
                  </a:txBody>
                  <a:tcPr marL="91298" marR="91298" marT="45725" marB="4572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2427" name="Rectangle 46">
            <a:extLst>
              <a:ext uri="{FF2B5EF4-FFF2-40B4-BE49-F238E27FC236}">
                <a16:creationId xmlns:a16="http://schemas.microsoft.com/office/drawing/2014/main" id="{EC5FC54C-862B-4DEF-814A-188CF5F2CC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0690" y="1701514"/>
            <a:ext cx="26172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1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FS</a:t>
            </a:r>
            <a:r>
              <a:rPr lang="en-US" altLang="en-US" sz="1800" b="1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</a:t>
            </a:r>
            <a:r>
              <a:rPr lang="en-US" altLang="en-US" sz="1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51" name="Group 3">
            <a:extLst>
              <a:ext uri="{FF2B5EF4-FFF2-40B4-BE49-F238E27FC236}">
                <a16:creationId xmlns:a16="http://schemas.microsoft.com/office/drawing/2014/main" id="{1F135E53-B4D5-44C4-B196-3CE4B8960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434525"/>
              </p:ext>
            </p:extLst>
          </p:nvPr>
        </p:nvGraphicFramePr>
        <p:xfrm>
          <a:off x="7680449" y="1765941"/>
          <a:ext cx="3436338" cy="1406247"/>
        </p:xfrm>
        <a:graphic>
          <a:graphicData uri="http://schemas.openxmlformats.org/drawingml/2006/table">
            <a:tbl>
              <a:tblPr/>
              <a:tblGrid>
                <a:gridCol w="8529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97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35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8749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GB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IB-4 Score</a:t>
                      </a:r>
                      <a:endParaRPr kumimoji="0" lang="en-GB" altLang="en-US" sz="12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bg1">
                            <a:lumMod val="85000"/>
                            <a:lumOff val="1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Effect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PV or PPV, %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749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&lt;1.30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Rules out fibrosis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95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749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&gt;3.25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Predicts</a:t>
                      </a:r>
                      <a:b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</a:b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ibrosis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Wingdings" charset="2"/>
                        <a:defRPr sz="2200">
                          <a:solidFill>
                            <a:srgbClr val="FEFDDE"/>
                          </a:solidFill>
                          <a:latin typeface="Arial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2000">
                          <a:solidFill>
                            <a:srgbClr val="FEFDDE"/>
                          </a:solidFill>
                          <a:latin typeface="Arial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>
                          <a:solidFill>
                            <a:srgbClr val="FEFDDE"/>
                          </a:solidFill>
                          <a:latin typeface="Arial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700"/>
                        </a:spcAft>
                        <a:buClr>
                          <a:srgbClr val="FEFDDE"/>
                        </a:buClr>
                        <a:buFont typeface="Arial" charset="0"/>
                        <a:defRPr sz="1600">
                          <a:solidFill>
                            <a:srgbClr val="FEFDDE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41415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75</a:t>
                      </a:r>
                    </a:p>
                  </a:txBody>
                  <a:tcPr marL="91262" marR="91262" marT="45674" marB="4567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984CCAF7-B1BA-49EA-8AF9-EB16B6E4CF72}"/>
              </a:ext>
            </a:extLst>
          </p:cNvPr>
          <p:cNvGrpSpPr/>
          <p:nvPr/>
        </p:nvGrpSpPr>
        <p:grpSpPr>
          <a:xfrm>
            <a:off x="2678071" y="4408372"/>
            <a:ext cx="6802285" cy="1037785"/>
            <a:chOff x="2855790" y="4491415"/>
            <a:chExt cx="6802285" cy="1037785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8B717D3-52A8-4635-8AF9-84F3BD6AE3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337" y="5154755"/>
              <a:ext cx="2252662" cy="374445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/>
          </p:spPr>
          <p:txBody>
            <a:bodyPr anchor="ctr"/>
            <a:lstStyle>
              <a:lvl1pPr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endParaRPr lang="en-US" altLang="en-US" sz="1600" b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9EC837B-4777-41C4-BFAA-91A6D8841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7000" y="5154755"/>
              <a:ext cx="2251075" cy="37444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>
              <a:lvl1pPr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endParaRPr lang="en-US" altLang="en-US" sz="1600" b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440" name="TextBox 54">
              <a:extLst>
                <a:ext uri="{FF2B5EF4-FFF2-40B4-BE49-F238E27FC236}">
                  <a16:creationId xmlns:a16="http://schemas.microsoft.com/office/drawing/2014/main" id="{5F832F92-67D1-4A49-ABA5-B903EEC5BC9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5849" y="5214047"/>
              <a:ext cx="1438214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r>
                <a:rPr lang="en-US" altLang="en-US" sz="1200" b="1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Indeterminate</a:t>
              </a:r>
            </a:p>
          </p:txBody>
        </p:sp>
        <p:sp>
          <p:nvSpPr>
            <p:cNvPr id="56" name="Down Arrow Callout 29">
              <a:extLst>
                <a:ext uri="{FF2B5EF4-FFF2-40B4-BE49-F238E27FC236}">
                  <a16:creationId xmlns:a16="http://schemas.microsoft.com/office/drawing/2014/main" id="{0B6E022F-0E81-4B25-B3D6-DE115C670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8133" y="4496176"/>
              <a:ext cx="1774656" cy="670613"/>
            </a:xfrm>
            <a:prstGeom prst="downArrowCallout">
              <a:avLst>
                <a:gd name="adj1" fmla="val 24998"/>
                <a:gd name="adj2" fmla="val 24998"/>
                <a:gd name="adj3" fmla="val 25000"/>
                <a:gd name="adj4" fmla="val 64977"/>
              </a:avLst>
            </a:prstGeom>
            <a:solidFill>
              <a:schemeClr val="accent2"/>
            </a:solidFill>
            <a:ln>
              <a:noFill/>
            </a:ln>
            <a:effectLst/>
          </p:spPr>
          <p:txBody>
            <a:bodyPr anchor="ctr"/>
            <a:lstStyle/>
            <a:p>
              <a:pPr algn="ctr" defTabSz="457063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High Cutoff (PPV)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CB167C2-94C0-469A-95C5-49100A678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263" y="5154755"/>
              <a:ext cx="2251075" cy="374445"/>
            </a:xfrm>
            <a:prstGeom prst="rect">
              <a:avLst/>
            </a:prstGeom>
            <a:solidFill>
              <a:srgbClr val="F9CD7C"/>
            </a:solidFill>
            <a:ln>
              <a:noFill/>
            </a:ln>
            <a:effectLst/>
          </p:spPr>
          <p:txBody>
            <a:bodyPr anchor="ctr"/>
            <a:lstStyle>
              <a:lvl1pPr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endParaRPr lang="en-US" altLang="en-US" sz="1600" b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Down Arrow Callout 31">
              <a:extLst>
                <a:ext uri="{FF2B5EF4-FFF2-40B4-BE49-F238E27FC236}">
                  <a16:creationId xmlns:a16="http://schemas.microsoft.com/office/drawing/2014/main" id="{0CCB334E-1576-4104-A5A3-05B3C4B75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1794" y="4491415"/>
              <a:ext cx="1774656" cy="670614"/>
            </a:xfrm>
            <a:prstGeom prst="downArrowCallout">
              <a:avLst>
                <a:gd name="adj1" fmla="val 24998"/>
                <a:gd name="adj2" fmla="val 24998"/>
                <a:gd name="adj3" fmla="val 25000"/>
                <a:gd name="adj4" fmla="val 64977"/>
              </a:avLst>
            </a:prstGeom>
            <a:solidFill>
              <a:schemeClr val="accent2"/>
            </a:solidFill>
            <a:ln>
              <a:noFill/>
            </a:ln>
            <a:effectLst/>
          </p:spPr>
          <p:txBody>
            <a:bodyPr anchor="ctr"/>
            <a:lstStyle/>
            <a:p>
              <a:pPr algn="ctr" defTabSz="457063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Low Cutoff (NPV)</a:t>
              </a:r>
            </a:p>
          </p:txBody>
        </p:sp>
        <p:sp>
          <p:nvSpPr>
            <p:cNvPr id="102444" name="TextBox 58">
              <a:extLst>
                <a:ext uri="{FF2B5EF4-FFF2-40B4-BE49-F238E27FC236}">
                  <a16:creationId xmlns:a16="http://schemas.microsoft.com/office/drawing/2014/main" id="{9630BC57-50D2-4819-BA30-360B9C81FF1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5790" y="5214047"/>
              <a:ext cx="2233305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r>
                <a:rPr lang="en-US" altLang="en-US" sz="1200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Low Probability of F3/4</a:t>
              </a:r>
            </a:p>
          </p:txBody>
        </p:sp>
        <p:sp>
          <p:nvSpPr>
            <p:cNvPr id="102445" name="TextBox 59">
              <a:extLst>
                <a:ext uri="{FF2B5EF4-FFF2-40B4-BE49-F238E27FC236}">
                  <a16:creationId xmlns:a16="http://schemas.microsoft.com/office/drawing/2014/main" id="{E2CA9BCC-F837-4841-8200-D362E7968E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75990" y="5214047"/>
              <a:ext cx="2276585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 defTabSz="455613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defTabSz="455613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r>
                <a:rPr lang="en-US" altLang="en-US" sz="1200" b="1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High Probability of F3/4</a:t>
              </a:r>
            </a:p>
          </p:txBody>
        </p:sp>
      </p:grpSp>
      <p:sp>
        <p:nvSpPr>
          <p:cNvPr id="26" name="Content Placeholder 6">
            <a:extLst>
              <a:ext uri="{FF2B5EF4-FFF2-40B4-BE49-F238E27FC236}">
                <a16:creationId xmlns:a16="http://schemas.microsoft.com/office/drawing/2014/main" id="{0997B79A-98CF-49CA-8717-5CF37103361D}"/>
              </a:ext>
            </a:extLst>
          </p:cNvPr>
          <p:cNvSpPr txBox="1">
            <a:spLocks/>
          </p:cNvSpPr>
          <p:nvPr/>
        </p:nvSpPr>
        <p:spPr bwMode="auto">
          <a:xfrm>
            <a:off x="8211624" y="1254341"/>
            <a:ext cx="2373988" cy="374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en-US" sz="18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FIB-4 Score</a:t>
            </a:r>
            <a:r>
              <a:rPr lang="en-US" altLang="en-US" sz="1800" b="1" kern="0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2,3</a:t>
            </a:r>
            <a:endParaRPr lang="en-US" altLang="en-US" sz="1800" b="1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E5E2EC16-A61C-4813-BFBA-241D3F8B05AA}"/>
              </a:ext>
            </a:extLst>
          </p:cNvPr>
          <p:cNvSpPr txBox="1">
            <a:spLocks/>
          </p:cNvSpPr>
          <p:nvPr/>
        </p:nvSpPr>
        <p:spPr>
          <a:xfrm>
            <a:off x="529840" y="5986463"/>
            <a:ext cx="11146223" cy="33337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Left Brace 3">
            <a:extLst>
              <a:ext uri="{FF2B5EF4-FFF2-40B4-BE49-F238E27FC236}">
                <a16:creationId xmlns:a16="http://schemas.microsoft.com/office/drawing/2014/main" id="{785C3325-E491-A847-AEE1-7E451250CB1F}"/>
              </a:ext>
            </a:extLst>
          </p:cNvPr>
          <p:cNvSpPr/>
          <p:nvPr/>
        </p:nvSpPr>
        <p:spPr>
          <a:xfrm>
            <a:off x="4390695" y="2044053"/>
            <a:ext cx="415910" cy="1881561"/>
          </a:xfrm>
          <a:prstGeom prst="leftBrac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300000"/>
              </a:lnSpc>
            </a:pPr>
            <a:endParaRPr lang="ro-RO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F4C0B940-E9F1-B44A-B807-E52E577A5DB8}"/>
              </a:ext>
            </a:extLst>
          </p:cNvPr>
          <p:cNvSpPr/>
          <p:nvPr/>
        </p:nvSpPr>
        <p:spPr>
          <a:xfrm>
            <a:off x="7113864" y="2044053"/>
            <a:ext cx="535816" cy="998692"/>
          </a:xfrm>
          <a:prstGeom prst="rightBrace">
            <a:avLst>
              <a:gd name="adj1" fmla="val 8333"/>
              <a:gd name="adj2" fmla="val 4916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o-RO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339097D-04EE-7A43-AEB0-968EA06912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72420" y="3387346"/>
            <a:ext cx="1774657" cy="1901207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03E40B-3884-7B1C-E48F-CBB34A5A3B0C}"/>
              </a:ext>
            </a:extLst>
          </p:cNvPr>
          <p:cNvSpPr txBox="1">
            <a:spLocks/>
          </p:cNvSpPr>
          <p:nvPr/>
        </p:nvSpPr>
        <p:spPr>
          <a:xfrm>
            <a:off x="384417" y="133201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Scores for identifying advanced fibrosis in MAFLD: </a:t>
            </a:r>
            <a:br>
              <a:rPr lang="en-GB" dirty="0"/>
            </a:br>
            <a:r>
              <a:rPr lang="en-GB" dirty="0"/>
              <a:t>NFS and FIB-4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0CD62D-E30E-3F81-55A3-C2370E39C46A}"/>
              </a:ext>
            </a:extLst>
          </p:cNvPr>
          <p:cNvSpPr txBox="1"/>
          <p:nvPr/>
        </p:nvSpPr>
        <p:spPr>
          <a:xfrm>
            <a:off x="1404939" y="6298997"/>
            <a:ext cx="99789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LT, alanine transaminase; AST, aspartate aminotransferase; BMI, body mass index; FIB-4, Fibrosis-4 Index; NAFLD, non-alcoholic fatty liver disease; NFS, MAFLD, metabolic-dysfunction associated fatty liver disease; NAFLD Fibrosis Score; NPV, negative predictive value; PPV, positive predictive value </a:t>
            </a:r>
            <a:b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. Angulo P, et al. Hepatology 2007;45:846–854; 2. Sterling R, et al. Hepatology 2006;43:1317–1325; 3. McPherson S, et al. Gut 2010;59:1265–1269</a:t>
            </a:r>
          </a:p>
        </p:txBody>
      </p:sp>
    </p:spTree>
    <p:extLst>
      <p:ext uri="{BB962C8B-B14F-4D97-AF65-F5344CB8AC3E}">
        <p14:creationId xmlns:p14="http://schemas.microsoft.com/office/powerpoint/2010/main" val="77565366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F1BBEFFE-0E32-FD16-7B70-2CF7D90982A7}"/>
              </a:ext>
            </a:extLst>
          </p:cNvPr>
          <p:cNvSpPr/>
          <p:nvPr/>
        </p:nvSpPr>
        <p:spPr>
          <a:xfrm>
            <a:off x="8389" y="3624833"/>
            <a:ext cx="12171006" cy="21246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7DBCC51-62FC-9642-BDB4-827FCCCC15B4}"/>
              </a:ext>
            </a:extLst>
          </p:cNvPr>
          <p:cNvGrpSpPr/>
          <p:nvPr/>
        </p:nvGrpSpPr>
        <p:grpSpPr>
          <a:xfrm>
            <a:off x="0" y="2304560"/>
            <a:ext cx="9400101" cy="946088"/>
            <a:chOff x="3794409" y="5013870"/>
            <a:chExt cx="8372199" cy="9568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3A8612A-DE53-894A-B785-FAF54229BB86}"/>
                </a:ext>
              </a:extLst>
            </p:cNvPr>
            <p:cNvSpPr/>
            <p:nvPr/>
          </p:nvSpPr>
          <p:spPr bwMode="auto">
            <a:xfrm>
              <a:off x="6689412" y="5013871"/>
              <a:ext cx="4977280" cy="587520"/>
            </a:xfrm>
            <a:prstGeom prst="rect">
              <a:avLst/>
            </a:prstGeom>
            <a:gradFill>
              <a:gsLst>
                <a:gs pos="0">
                  <a:srgbClr val="0070C0"/>
                </a:gs>
                <a:gs pos="9000">
                  <a:srgbClr val="92D050"/>
                </a:gs>
                <a:gs pos="91000">
                  <a:srgbClr val="E01A00"/>
                </a:gs>
                <a:gs pos="78000">
                  <a:srgbClr val="FF3300"/>
                </a:gs>
                <a:gs pos="45000">
                  <a:srgbClr val="FFC000"/>
                </a:gs>
                <a:gs pos="21000">
                  <a:srgbClr val="FFFF00"/>
                </a:gs>
                <a:gs pos="100000">
                  <a:srgbClr val="C00000"/>
                </a:gs>
              </a:gsLst>
              <a:lin ang="0" scaled="0"/>
            </a:gra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5C48D4F-2052-A747-8D60-81CD97C77252}"/>
                </a:ext>
              </a:extLst>
            </p:cNvPr>
            <p:cNvSpPr txBox="1"/>
            <p:nvPr/>
          </p:nvSpPr>
          <p:spPr>
            <a:xfrm>
              <a:off x="6631419" y="5014296"/>
              <a:ext cx="673818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0/1)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7E1556-1B5E-2B41-9C8C-42B9D6DB0EAE}"/>
                </a:ext>
              </a:extLst>
            </p:cNvPr>
            <p:cNvSpPr txBox="1"/>
            <p:nvPr/>
          </p:nvSpPr>
          <p:spPr>
            <a:xfrm>
              <a:off x="7148229" y="5014296"/>
              <a:ext cx="680197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1±1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F47BEA4-D02F-6B45-8A24-68793E5CFA9B}"/>
                </a:ext>
              </a:extLst>
            </p:cNvPr>
            <p:cNvSpPr txBox="1"/>
            <p:nvPr/>
          </p:nvSpPr>
          <p:spPr>
            <a:xfrm>
              <a:off x="7624973" y="5014296"/>
              <a:ext cx="670523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1/2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D81E10B-91D6-4047-B892-7A5B85A01A5D}"/>
                </a:ext>
              </a:extLst>
            </p:cNvPr>
            <p:cNvSpPr txBox="1"/>
            <p:nvPr/>
          </p:nvSpPr>
          <p:spPr>
            <a:xfrm>
              <a:off x="8133328" y="5014296"/>
              <a:ext cx="648249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2/3)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52313A3-6587-494D-85D5-0AE261BA7E8D}"/>
                </a:ext>
              </a:extLst>
            </p:cNvPr>
            <p:cNvSpPr txBox="1"/>
            <p:nvPr/>
          </p:nvSpPr>
          <p:spPr>
            <a:xfrm>
              <a:off x="8730789" y="5014296"/>
              <a:ext cx="688315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3±1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051B4E7-BC5F-7345-80A5-1E3AF2544C59}"/>
                </a:ext>
              </a:extLst>
            </p:cNvPr>
            <p:cNvSpPr txBox="1"/>
            <p:nvPr/>
          </p:nvSpPr>
          <p:spPr>
            <a:xfrm>
              <a:off x="9729203" y="5014296"/>
              <a:ext cx="725794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3/4)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BF3D9B8-4722-B347-B416-04FA71EE914C}"/>
                </a:ext>
              </a:extLst>
            </p:cNvPr>
            <p:cNvCxnSpPr/>
            <p:nvPr/>
          </p:nvCxnSpPr>
          <p:spPr bwMode="auto">
            <a:xfrm flipH="1">
              <a:off x="7279577" y="5013870"/>
              <a:ext cx="1" cy="582582"/>
            </a:xfrm>
            <a:prstGeom prst="line">
              <a:avLst/>
            </a:prstGeom>
            <a:solidFill>
              <a:srgbClr val="FFFFF7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E34834B-4C69-5949-8B78-96A61C54CCAE}"/>
                </a:ext>
              </a:extLst>
            </p:cNvPr>
            <p:cNvCxnSpPr/>
            <p:nvPr/>
          </p:nvCxnSpPr>
          <p:spPr bwMode="auto">
            <a:xfrm flipH="1">
              <a:off x="7697906" y="5013870"/>
              <a:ext cx="1" cy="582582"/>
            </a:xfrm>
            <a:prstGeom prst="line">
              <a:avLst/>
            </a:prstGeom>
            <a:solidFill>
              <a:srgbClr val="FFFFF7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DCF48D6-48B5-6B45-8F6D-6F878A1B0FCC}"/>
                </a:ext>
              </a:extLst>
            </p:cNvPr>
            <p:cNvCxnSpPr/>
            <p:nvPr/>
          </p:nvCxnSpPr>
          <p:spPr bwMode="auto">
            <a:xfrm flipH="1">
              <a:off x="8177291" y="5013870"/>
              <a:ext cx="1" cy="582582"/>
            </a:xfrm>
            <a:prstGeom prst="line">
              <a:avLst/>
            </a:prstGeom>
            <a:solidFill>
              <a:srgbClr val="FFFFF7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526F93E-E14A-A44A-BDFC-05664781834D}"/>
                </a:ext>
              </a:extLst>
            </p:cNvPr>
            <p:cNvCxnSpPr/>
            <p:nvPr/>
          </p:nvCxnSpPr>
          <p:spPr bwMode="auto">
            <a:xfrm flipH="1">
              <a:off x="8757588" y="5013870"/>
              <a:ext cx="1" cy="582582"/>
            </a:xfrm>
            <a:prstGeom prst="line">
              <a:avLst/>
            </a:prstGeom>
            <a:solidFill>
              <a:srgbClr val="FFFFF7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1B13799-DA6E-4A46-A0D7-DDA17D83B994}"/>
                </a:ext>
              </a:extLst>
            </p:cNvPr>
            <p:cNvCxnSpPr/>
            <p:nvPr/>
          </p:nvCxnSpPr>
          <p:spPr bwMode="auto">
            <a:xfrm flipH="1">
              <a:off x="9421118" y="5013870"/>
              <a:ext cx="1" cy="582582"/>
            </a:xfrm>
            <a:prstGeom prst="line">
              <a:avLst/>
            </a:prstGeom>
            <a:solidFill>
              <a:srgbClr val="FFFFF7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DC39957-2E4F-0D4C-8D76-9386FC85DA26}"/>
                </a:ext>
              </a:extLst>
            </p:cNvPr>
            <p:cNvSpPr txBox="1"/>
            <p:nvPr/>
          </p:nvSpPr>
          <p:spPr>
            <a:xfrm>
              <a:off x="6449014" y="5659475"/>
              <a:ext cx="473616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2.0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3641C52-66DD-AE4F-80F1-E3EAF891EB83}"/>
                </a:ext>
              </a:extLst>
            </p:cNvPr>
            <p:cNvSpPr txBox="1"/>
            <p:nvPr/>
          </p:nvSpPr>
          <p:spPr>
            <a:xfrm>
              <a:off x="7452143" y="5659475"/>
              <a:ext cx="496291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6.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D915A92-6C0D-0B46-BB81-DD5ADD67350D}"/>
                </a:ext>
              </a:extLst>
            </p:cNvPr>
            <p:cNvSpPr txBox="1"/>
            <p:nvPr/>
          </p:nvSpPr>
          <p:spPr>
            <a:xfrm>
              <a:off x="7948435" y="5659475"/>
              <a:ext cx="469240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8.8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30B2899-283D-9B43-9F7F-86191852B46E}"/>
                </a:ext>
              </a:extLst>
            </p:cNvPr>
            <p:cNvSpPr txBox="1"/>
            <p:nvPr/>
          </p:nvSpPr>
          <p:spPr>
            <a:xfrm>
              <a:off x="8464221" y="5659475"/>
              <a:ext cx="612068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12.0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0D23E9A-C3F5-0044-8A88-06162F6728A6}"/>
                </a:ext>
              </a:extLst>
            </p:cNvPr>
            <p:cNvSpPr txBox="1"/>
            <p:nvPr/>
          </p:nvSpPr>
          <p:spPr>
            <a:xfrm>
              <a:off x="9144000" y="5659475"/>
              <a:ext cx="575124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18.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5C3CF4E-979D-4447-9072-35D8F6684BBE}"/>
                </a:ext>
              </a:extLst>
            </p:cNvPr>
            <p:cNvSpPr txBox="1"/>
            <p:nvPr/>
          </p:nvSpPr>
          <p:spPr>
            <a:xfrm>
              <a:off x="10607040" y="5659475"/>
              <a:ext cx="552854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38.6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E08861E-F3FF-7E41-AB20-0061BEE3075F}"/>
                </a:ext>
              </a:extLst>
            </p:cNvPr>
            <p:cNvSpPr txBox="1"/>
            <p:nvPr/>
          </p:nvSpPr>
          <p:spPr>
            <a:xfrm>
              <a:off x="11190731" y="5659475"/>
              <a:ext cx="975877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75.0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Pa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6B56BEB-FD98-554F-8F85-54B10921253D}"/>
                </a:ext>
              </a:extLst>
            </p:cNvPr>
            <p:cNvSpPr txBox="1"/>
            <p:nvPr/>
          </p:nvSpPr>
          <p:spPr>
            <a:xfrm>
              <a:off x="5985456" y="5659475"/>
              <a:ext cx="615941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SM: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9AFF2AF-D40A-104D-8B77-8C3ECC2DD643}"/>
                </a:ext>
              </a:extLst>
            </p:cNvPr>
            <p:cNvSpPr txBox="1"/>
            <p:nvPr/>
          </p:nvSpPr>
          <p:spPr>
            <a:xfrm>
              <a:off x="3794409" y="5068018"/>
              <a:ext cx="2593504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Fibrosis classification</a:t>
              </a: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: </a:t>
              </a:r>
            </a:p>
            <a:p>
              <a:pPr marL="0" marR="0" lvl="0" indent="0" algn="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 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F7D3773-8AAF-6343-8A50-18264B65224A}"/>
                </a:ext>
              </a:extLst>
            </p:cNvPr>
            <p:cNvCxnSpPr/>
            <p:nvPr/>
          </p:nvCxnSpPr>
          <p:spPr bwMode="auto">
            <a:xfrm flipH="1">
              <a:off x="10886118" y="5013870"/>
              <a:ext cx="1" cy="582582"/>
            </a:xfrm>
            <a:prstGeom prst="line">
              <a:avLst/>
            </a:prstGeom>
            <a:solidFill>
              <a:srgbClr val="FFFFF7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37109B1-CF8B-254F-9A78-E9332764BDFE}"/>
                </a:ext>
              </a:extLst>
            </p:cNvPr>
            <p:cNvSpPr txBox="1"/>
            <p:nvPr/>
          </p:nvSpPr>
          <p:spPr>
            <a:xfrm>
              <a:off x="10765423" y="5014296"/>
              <a:ext cx="605992" cy="5291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7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F4)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FDB323E-8CD6-A847-A37A-E9A14E96BC68}"/>
                </a:ext>
              </a:extLst>
            </p:cNvPr>
            <p:cNvSpPr txBox="1"/>
            <p:nvPr/>
          </p:nvSpPr>
          <p:spPr>
            <a:xfrm>
              <a:off x="7016014" y="5659475"/>
              <a:ext cx="507506" cy="31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4.6</a:t>
              </a:r>
            </a:p>
          </p:txBody>
        </p:sp>
        <p:sp>
          <p:nvSpPr>
            <p:cNvPr id="28" name="Chevron 38">
              <a:extLst>
                <a:ext uri="{FF2B5EF4-FFF2-40B4-BE49-F238E27FC236}">
                  <a16:creationId xmlns:a16="http://schemas.microsoft.com/office/drawing/2014/main" id="{1BA0BF64-1B3B-C044-8F09-C0F98DA03186}"/>
                </a:ext>
              </a:extLst>
            </p:cNvPr>
            <p:cNvSpPr/>
            <p:nvPr/>
          </p:nvSpPr>
          <p:spPr bwMode="auto">
            <a:xfrm>
              <a:off x="11204448" y="5024649"/>
              <a:ext cx="187810" cy="574695"/>
            </a:xfrm>
            <a:prstGeom prst="chevron">
              <a:avLst/>
            </a:prstGeom>
            <a:solidFill>
              <a:srgbClr val="FFFFD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5140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AE637A76-B178-E944-9EE8-64F37534F553}"/>
              </a:ext>
            </a:extLst>
          </p:cNvPr>
          <p:cNvSpPr/>
          <p:nvPr/>
        </p:nvSpPr>
        <p:spPr>
          <a:xfrm>
            <a:off x="661720" y="3629716"/>
            <a:ext cx="12695465" cy="2023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ccurate in detecting advanced fibrosis and correlates with portal pression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edicts risk of decompensation and complications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&lt;8kPa ruled out advanced fibrosis, 8-12 kPa: fibrotic NASH, &gt;12 kPa - advanced fibrosis (low PPV)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   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An increase of liver stiffness of 20% may be associated with disease progression and worsened </a:t>
            </a:r>
            <a:b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      long-term clinical outcomes</a:t>
            </a:r>
          </a:p>
        </p:txBody>
      </p:sp>
      <p:pic>
        <p:nvPicPr>
          <p:cNvPr id="30" name="Picture 2">
            <a:extLst>
              <a:ext uri="{FF2B5EF4-FFF2-40B4-BE49-F238E27FC236}">
                <a16:creationId xmlns:a16="http://schemas.microsoft.com/office/drawing/2014/main" id="{B3EF5F45-50B7-D54C-A656-FA64F28200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t="27253" r="69559" b="38385"/>
          <a:stretch/>
        </p:blipFill>
        <p:spPr bwMode="auto">
          <a:xfrm>
            <a:off x="9509209" y="997379"/>
            <a:ext cx="2552822" cy="2255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722C8F-03B2-E84B-7142-D852F46F2C85}"/>
              </a:ext>
            </a:extLst>
          </p:cNvPr>
          <p:cNvSpPr txBox="1">
            <a:spLocks/>
          </p:cNvSpPr>
          <p:nvPr/>
        </p:nvSpPr>
        <p:spPr>
          <a:xfrm>
            <a:off x="384417" y="133201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VCTE (FibroScan</a:t>
            </a:r>
            <a:r>
              <a:rPr lang="en-GB" baseline="30000" dirty="0"/>
              <a:t>TM</a:t>
            </a:r>
            <a:r>
              <a:rPr lang="en-GB" dirty="0"/>
              <a:t>) </a:t>
            </a:r>
          </a:p>
          <a:p>
            <a:r>
              <a:rPr lang="en-GB" dirty="0"/>
              <a:t>(Vibration Controlled Transient Elastography)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4D8F6A7-37DB-27A6-D032-5C0FAFEC45D4}"/>
              </a:ext>
            </a:extLst>
          </p:cNvPr>
          <p:cNvSpPr txBox="1"/>
          <p:nvPr/>
        </p:nvSpPr>
        <p:spPr>
          <a:xfrm>
            <a:off x="1423989" y="6409826"/>
            <a:ext cx="99789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kumimoji="0" lang="nb-NO" altLang="en-US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Boursier</a:t>
            </a:r>
            <a:r>
              <a:rPr kumimoji="0" lang="nb-NO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J, et al. </a:t>
            </a:r>
            <a:r>
              <a:rPr kumimoji="0" lang="nb-NO" altLang="en-US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Hepatol</a:t>
            </a:r>
            <a:r>
              <a:rPr kumimoji="0" lang="nb-NO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2016;65:570; </a:t>
            </a:r>
            <a:r>
              <a:rPr kumimoji="0" lang="nb-NO" altLang="en-US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oomba</a:t>
            </a:r>
            <a:r>
              <a:rPr kumimoji="0" lang="nb-NO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R, et al. Gut 2023;72:581–589</a:t>
            </a:r>
          </a:p>
        </p:txBody>
      </p:sp>
    </p:spTree>
    <p:extLst>
      <p:ext uri="{BB962C8B-B14F-4D97-AF65-F5344CB8AC3E}">
        <p14:creationId xmlns:p14="http://schemas.microsoft.com/office/powerpoint/2010/main" val="241413121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336AED69-E3FD-6D67-5160-7CC0DC6E499E}"/>
              </a:ext>
            </a:extLst>
          </p:cNvPr>
          <p:cNvSpPr/>
          <p:nvPr/>
        </p:nvSpPr>
        <p:spPr>
          <a:xfrm>
            <a:off x="5427677" y="1412961"/>
            <a:ext cx="822120" cy="3077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13A9E26-06AF-4649-C49D-D77FA040D44D}"/>
              </a:ext>
            </a:extLst>
          </p:cNvPr>
          <p:cNvSpPr/>
          <p:nvPr/>
        </p:nvSpPr>
        <p:spPr>
          <a:xfrm>
            <a:off x="7741378" y="1412961"/>
            <a:ext cx="822120" cy="3077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137CE1-5141-8FE8-2C26-72B44401CA2F}"/>
              </a:ext>
            </a:extLst>
          </p:cNvPr>
          <p:cNvSpPr/>
          <p:nvPr/>
        </p:nvSpPr>
        <p:spPr>
          <a:xfrm>
            <a:off x="11469" y="4501815"/>
            <a:ext cx="12171006" cy="14625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ED0B7E-BCCC-2046-B5AD-BB7893FE033A}"/>
              </a:ext>
            </a:extLst>
          </p:cNvPr>
          <p:cNvSpPr txBox="1"/>
          <p:nvPr/>
        </p:nvSpPr>
        <p:spPr>
          <a:xfrm>
            <a:off x="5245367" y="1412961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3</a:t>
            </a:r>
            <a:r>
              <a:rPr lang="en-GB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.</a:t>
            </a:r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6kP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2A53A4-F6F5-CE48-9362-7EA33873C7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948" b="19349"/>
          <a:stretch/>
        </p:blipFill>
        <p:spPr>
          <a:xfrm>
            <a:off x="725214" y="2203279"/>
            <a:ext cx="8875986" cy="134534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996041-A5AC-1A46-A0C8-A56964AB55D3}"/>
              </a:ext>
            </a:extLst>
          </p:cNvPr>
          <p:cNvCxnSpPr>
            <a:cxnSpLocks/>
          </p:cNvCxnSpPr>
          <p:nvPr/>
        </p:nvCxnSpPr>
        <p:spPr>
          <a:xfrm>
            <a:off x="5843629" y="1737738"/>
            <a:ext cx="0" cy="1989667"/>
          </a:xfrm>
          <a:prstGeom prst="line">
            <a:avLst/>
          </a:prstGeom>
          <a:ln w="603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FF1D765-1733-EE4E-A326-16F6FEAE04E6}"/>
              </a:ext>
            </a:extLst>
          </p:cNvPr>
          <p:cNvCxnSpPr>
            <a:cxnSpLocks/>
          </p:cNvCxnSpPr>
          <p:nvPr/>
        </p:nvCxnSpPr>
        <p:spPr>
          <a:xfrm>
            <a:off x="8152438" y="1737738"/>
            <a:ext cx="0" cy="1989667"/>
          </a:xfrm>
          <a:prstGeom prst="line">
            <a:avLst/>
          </a:prstGeom>
          <a:ln w="603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CEA68FD-F574-2146-86A3-A0234AF0CF63}"/>
              </a:ext>
            </a:extLst>
          </p:cNvPr>
          <p:cNvSpPr txBox="1"/>
          <p:nvPr/>
        </p:nvSpPr>
        <p:spPr>
          <a:xfrm>
            <a:off x="7752553" y="1412961"/>
            <a:ext cx="8165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5 </a:t>
            </a:r>
            <a:r>
              <a:rPr lang="ro-RO" sz="1400" b="1" dirty="0" err="1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kPa</a:t>
            </a:r>
            <a:endParaRPr lang="ro-RO" sz="1400" b="1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D1A8B82-6F1D-CA4A-AA50-C00FA65D2D4E}"/>
              </a:ext>
            </a:extLst>
          </p:cNvPr>
          <p:cNvSpPr/>
          <p:nvPr/>
        </p:nvSpPr>
        <p:spPr>
          <a:xfrm>
            <a:off x="384417" y="4476301"/>
            <a:ext cx="11026775" cy="1433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lnSpc>
                <a:spcPts val="3580"/>
              </a:lnSpc>
            </a:pPr>
            <a:r>
              <a:rPr lang="en-US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RE 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≥3.6kPa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s used for detection advanced fibrosis  F≥3,  AUROC:0.924</a:t>
            </a:r>
          </a:p>
          <a:p>
            <a:pPr lvl="2">
              <a:lnSpc>
                <a:spcPts val="3580"/>
              </a:lnSpc>
            </a:pPr>
            <a:r>
              <a:rPr lang="en-US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RE 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≥5kPa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s suggestive of cirrhosis (AUROC:0.89–0.94)</a:t>
            </a:r>
          </a:p>
          <a:p>
            <a:pPr lvl="2">
              <a:lnSpc>
                <a:spcPts val="3580"/>
              </a:lnSpc>
            </a:pPr>
            <a:r>
              <a:rPr lang="en-US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en-US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9% increase in MRE associated with liver-related outcom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3CFD60-2331-5744-966D-3FC9BCF19F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9730" y="911187"/>
            <a:ext cx="2224629" cy="189805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A4816B3-1866-42E8-65ED-81E788D6E70A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MRE: detecting fibrosis in MAFL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F12881-3E09-4318-4B13-CC7FE128A153}"/>
              </a:ext>
            </a:extLst>
          </p:cNvPr>
          <p:cNvSpPr txBox="1"/>
          <p:nvPr/>
        </p:nvSpPr>
        <p:spPr>
          <a:xfrm>
            <a:off x="1423989" y="6409826"/>
            <a:ext cx="99789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RE, magnetic resonance elastography. Loomba, R et al. </a:t>
            </a:r>
            <a:r>
              <a:rPr lang="en-US" alt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Hepatology 2014;60:1920–8; </a:t>
            </a:r>
            <a:r>
              <a:rPr kumimoji="0" lang="nb-NO" altLang="en-US" sz="800" b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oomba</a:t>
            </a:r>
            <a:r>
              <a:rPr kumimoji="0" lang="nb-NO" altLang="en-US" sz="800" b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R, et al. Gut 2023;72:581–58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83C7EF2-B7E8-B6B5-D8E4-504488817E33}"/>
              </a:ext>
            </a:extLst>
          </p:cNvPr>
          <p:cNvSpPr txBox="1"/>
          <p:nvPr/>
        </p:nvSpPr>
        <p:spPr>
          <a:xfrm>
            <a:off x="1084847" y="3568700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2.19</a:t>
            </a:r>
            <a:r>
              <a:rPr lang="ro-RO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kP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C8F7E9-F85A-FBE1-00CC-598FAFE652F0}"/>
              </a:ext>
            </a:extLst>
          </p:cNvPr>
          <p:cNvSpPr txBox="1"/>
          <p:nvPr/>
        </p:nvSpPr>
        <p:spPr>
          <a:xfrm>
            <a:off x="2837568" y="3599309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2.80</a:t>
            </a:r>
            <a:r>
              <a:rPr lang="ro-RO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kP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7A36B0F-72A8-5B1B-598A-D7BC34A9281A}"/>
              </a:ext>
            </a:extLst>
          </p:cNvPr>
          <p:cNvSpPr txBox="1"/>
          <p:nvPr/>
        </p:nvSpPr>
        <p:spPr>
          <a:xfrm>
            <a:off x="4561428" y="3599309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3</a:t>
            </a:r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.53k</a:t>
            </a:r>
            <a:r>
              <a:rPr lang="ro-RO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743373-3F13-1EE3-FB09-2ECFE354EB70}"/>
              </a:ext>
            </a:extLst>
          </p:cNvPr>
          <p:cNvSpPr txBox="1"/>
          <p:nvPr/>
        </p:nvSpPr>
        <p:spPr>
          <a:xfrm>
            <a:off x="6393362" y="3612575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4.78k</a:t>
            </a:r>
            <a:r>
              <a:rPr lang="ro-RO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082C730-F988-2E98-CFD8-29F719A7B31A}"/>
              </a:ext>
            </a:extLst>
          </p:cNvPr>
          <p:cNvSpPr txBox="1"/>
          <p:nvPr/>
        </p:nvSpPr>
        <p:spPr>
          <a:xfrm>
            <a:off x="8195296" y="3599308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6.44</a:t>
            </a:r>
            <a:r>
              <a:rPr lang="ro-RO" sz="14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kP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3672807-90A6-8B1B-AC1E-BB998FA11132}"/>
              </a:ext>
            </a:extLst>
          </p:cNvPr>
          <p:cNvSpPr txBox="1"/>
          <p:nvPr/>
        </p:nvSpPr>
        <p:spPr>
          <a:xfrm>
            <a:off x="1084847" y="1789569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age 0</a:t>
            </a:r>
            <a:endParaRPr lang="ro-RO" sz="1400" b="1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B8142B-5282-54DE-59A3-90A9AB140F50}"/>
              </a:ext>
            </a:extLst>
          </p:cNvPr>
          <p:cNvSpPr txBox="1"/>
          <p:nvPr/>
        </p:nvSpPr>
        <p:spPr>
          <a:xfrm>
            <a:off x="2837568" y="1820178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age 1</a:t>
            </a:r>
            <a:endParaRPr lang="ro-RO" sz="1400" b="1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C4A7D25-7752-5A8B-B158-143489DF78FD}"/>
              </a:ext>
            </a:extLst>
          </p:cNvPr>
          <p:cNvSpPr txBox="1"/>
          <p:nvPr/>
        </p:nvSpPr>
        <p:spPr>
          <a:xfrm>
            <a:off x="4561428" y="1820178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age 2</a:t>
            </a:r>
            <a:endParaRPr lang="ro-RO" sz="1400" b="1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479F2A4-36AF-6A8B-C6F3-606575F447A0}"/>
              </a:ext>
            </a:extLst>
          </p:cNvPr>
          <p:cNvSpPr txBox="1"/>
          <p:nvPr/>
        </p:nvSpPr>
        <p:spPr>
          <a:xfrm>
            <a:off x="6393362" y="1833444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age 3</a:t>
            </a:r>
            <a:endParaRPr lang="ro-RO" sz="1400" b="1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B964639-3A35-4D8C-E369-FDA088CEDD7C}"/>
              </a:ext>
            </a:extLst>
          </p:cNvPr>
          <p:cNvSpPr txBox="1"/>
          <p:nvPr/>
        </p:nvSpPr>
        <p:spPr>
          <a:xfrm>
            <a:off x="8195296" y="1820177"/>
            <a:ext cx="1203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age 4</a:t>
            </a:r>
            <a:endParaRPr lang="ro-RO" sz="1400" b="1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010071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" name="Table 1">
                <a:extLst>
                  <a:ext uri="{FF2B5EF4-FFF2-40B4-BE49-F238E27FC236}">
                    <a16:creationId xmlns:a16="http://schemas.microsoft.com/office/drawing/2014/main" id="{2446358D-CD39-F849-9096-048507367EC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92309688"/>
                  </p:ext>
                </p:extLst>
              </p:nvPr>
            </p:nvGraphicFramePr>
            <p:xfrm>
              <a:off x="1293252" y="1754942"/>
              <a:ext cx="9853448" cy="3069238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2233023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2223085">
                      <a:extLst>
                        <a:ext uri="{9D8B030D-6E8A-4147-A177-3AD203B41FA5}">
                          <a16:colId xmlns:a16="http://schemas.microsoft.com/office/drawing/2014/main" val="2814916825"/>
                        </a:ext>
                      </a:extLst>
                    </a:gridCol>
                    <a:gridCol w="5397340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97708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2000" dirty="0">
                              <a:solidFill>
                                <a:schemeClr val="bg1"/>
                              </a:solidFill>
                            </a:rPr>
                            <a:t>Test MRE</a:t>
                          </a:r>
                          <a:endParaRPr lang="en-US" sz="2000" b="1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solidFill>
                                <a:schemeClr val="bg1"/>
                              </a:solidFill>
                            </a:rPr>
                            <a:t>Requirements</a:t>
                          </a:r>
                          <a:endParaRPr lang="en-US" sz="2000" b="1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solidFill>
                                <a:schemeClr val="bg1"/>
                              </a:solidFill>
                            </a:rPr>
                            <a:t>Components</a:t>
                          </a:r>
                          <a:endParaRPr lang="en-US" sz="2000" b="1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931572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2000" b="1" u="none" dirty="0"/>
                            <a:t>FAST</a:t>
                          </a:r>
                          <a:r>
                            <a:rPr lang="en-US" sz="2000" b="1" u="none" baseline="30000" dirty="0"/>
                            <a:t> </a:t>
                          </a:r>
                          <a:endParaRPr lang="en-US" sz="2000" b="1" u="none" baseline="300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kern="1200" dirty="0"/>
                            <a:t>Blood test</a:t>
                          </a:r>
                          <a:br>
                            <a:rPr lang="en-US" sz="2000" kern="1200" dirty="0"/>
                          </a:br>
                          <a:r>
                            <a:rPr lang="en-US" sz="2000" kern="1200" dirty="0"/>
                            <a:t>and imaging</a:t>
                          </a:r>
                          <a:endParaRPr lang="en-US" sz="2000" b="0" kern="12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kern="1200" dirty="0">
                              <a:solidFill>
                                <a:schemeClr val="tx1"/>
                              </a:solidFill>
                            </a:rPr>
                            <a:t>AST, VCTE, CAP  (</a:t>
                          </a:r>
                          <a14:m>
                            <m:oMath xmlns:m="http://schemas.openxmlformats.org/officeDocument/2006/math">
                              <m:r>
                                <a:rPr lang="en-US" sz="2000" kern="120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≥</m:t>
                              </m:r>
                            </m:oMath>
                          </a14:m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 0.67-</a:t>
                          </a:r>
                          <a14:m>
                            <m:oMath xmlns:m="http://schemas.openxmlformats.org/officeDocument/2006/math">
                              <m:r>
                                <a:rPr lang="en-US" sz="2000" b="0" kern="1200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≤</m:t>
                              </m:r>
                            </m:oMath>
                          </a14:m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 0.35)</a:t>
                          </a:r>
                          <a:endParaRPr lang="en-US" sz="2000" b="0" kern="1200" dirty="0">
                            <a:solidFill>
                              <a:schemeClr val="tx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869979">
                    <a:tc>
                      <a:txBody>
                        <a:bodyPr/>
                        <a:lstStyle/>
                        <a:p>
                          <a:pPr marL="0" indent="0" algn="l">
                            <a:buFontTx/>
                            <a:buNone/>
                          </a:pPr>
                          <a:r>
                            <a:rPr lang="en-US" sz="2000" b="1" kern="1200" dirty="0"/>
                            <a:t> MAST </a:t>
                          </a:r>
                          <a:endParaRPr lang="en-US" sz="2000" b="1" kern="1200" baseline="300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000" kern="1200" dirty="0"/>
                            <a:t>Blood test</a:t>
                          </a:r>
                          <a:br>
                            <a:rPr lang="en-US" sz="2000" kern="1200" dirty="0"/>
                          </a:br>
                          <a:r>
                            <a:rPr lang="en-US" sz="2000" kern="1200" dirty="0"/>
                            <a:t>and imaging</a:t>
                          </a:r>
                          <a:endParaRPr lang="en-US" sz="2000" b="0" kern="12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000" b="0" kern="1200" dirty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MRI-PDFF, MRE, AST</a:t>
                          </a:r>
                          <a:endParaRPr lang="en-US" sz="2000" b="0" kern="1200" dirty="0">
                            <a:solidFill>
                              <a:schemeClr val="tx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740378230"/>
                      </a:ext>
                    </a:extLst>
                  </a:tr>
                  <a:tr h="869979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2000" b="1" u="none" baseline="0" dirty="0"/>
                            <a:t> MEFIB</a:t>
                          </a:r>
                          <a:endParaRPr lang="en-US" sz="2000" b="1" u="none" baseline="300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000" kern="1200" dirty="0"/>
                            <a:t>Blood test</a:t>
                          </a:r>
                          <a:br>
                            <a:rPr lang="en-US" sz="2000" kern="1200" dirty="0"/>
                          </a:br>
                          <a:r>
                            <a:rPr lang="en-US" sz="2000" kern="1200" dirty="0"/>
                            <a:t>and imaging</a:t>
                          </a:r>
                          <a:endParaRPr lang="en-US" sz="2000" b="0" kern="12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kern="1200" dirty="0">
                              <a:solidFill>
                                <a:schemeClr val="tx1"/>
                              </a:solidFill>
                            </a:rPr>
                            <a:t>FIB-4 (if </a:t>
                          </a:r>
                          <a14:m>
                            <m:oMath xmlns:m="http://schemas.openxmlformats.org/officeDocument/2006/math">
                              <m:r>
                                <a:rPr lang="en-US" sz="2000" kern="120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≥</m:t>
                              </m:r>
                              <m:r>
                                <a:rPr lang="en-US" sz="2000" b="0" kern="120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.6)+</m:t>
                              </m:r>
                            </m:oMath>
                          </a14:m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 MRE</a:t>
                          </a:r>
                          <a:r>
                            <a:rPr lang="en-US" sz="2000" b="0" kern="1200" baseline="0" dirty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2000" kern="120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≥</m:t>
                              </m:r>
                            </m:oMath>
                          </a14:m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 3.3kPa</a:t>
                          </a:r>
                        </a:p>
                        <a:p>
                          <a:pPr algn="ctr"/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(PPV &gt;90%)</a:t>
                          </a:r>
                          <a:endParaRPr lang="en-US" sz="2000" b="0" kern="1200" dirty="0">
                            <a:solidFill>
                              <a:schemeClr val="tx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22844261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" name="Table 1">
                <a:extLst>
                  <a:ext uri="{FF2B5EF4-FFF2-40B4-BE49-F238E27FC236}">
                    <a16:creationId xmlns:a16="http://schemas.microsoft.com/office/drawing/2014/main" id="{2446358D-CD39-F849-9096-048507367EC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92309688"/>
                  </p:ext>
                </p:extLst>
              </p:nvPr>
            </p:nvGraphicFramePr>
            <p:xfrm>
              <a:off x="1293252" y="1754942"/>
              <a:ext cx="9853448" cy="3069238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2233023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2223085">
                      <a:extLst>
                        <a:ext uri="{9D8B030D-6E8A-4147-A177-3AD203B41FA5}">
                          <a16:colId xmlns:a16="http://schemas.microsoft.com/office/drawing/2014/main" val="2814916825"/>
                        </a:ext>
                      </a:extLst>
                    </a:gridCol>
                    <a:gridCol w="5397340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97708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2000" dirty="0">
                              <a:solidFill>
                                <a:schemeClr val="bg1"/>
                              </a:solidFill>
                            </a:rPr>
                            <a:t>Test MRE</a:t>
                          </a:r>
                          <a:endParaRPr lang="en-US" sz="2000" b="1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solidFill>
                                <a:schemeClr val="bg1"/>
                              </a:solidFill>
                            </a:rPr>
                            <a:t>Requirements</a:t>
                          </a:r>
                          <a:endParaRPr lang="en-US" sz="2000" b="1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solidFill>
                                <a:schemeClr val="bg1"/>
                              </a:solidFill>
                            </a:rPr>
                            <a:t>Components</a:t>
                          </a:r>
                          <a:endParaRPr lang="en-US" sz="2000" b="1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931572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2000" b="1" u="none" dirty="0"/>
                            <a:t>FAST</a:t>
                          </a:r>
                          <a:r>
                            <a:rPr lang="en-US" sz="2000" b="1" u="none" baseline="30000" dirty="0"/>
                            <a:t> </a:t>
                          </a:r>
                          <a:endParaRPr lang="en-US" sz="2000" b="1" u="none" baseline="300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kern="1200" dirty="0"/>
                            <a:t>Blood test</a:t>
                          </a:r>
                          <a:br>
                            <a:rPr lang="en-US" sz="2000" kern="1200" dirty="0"/>
                          </a:br>
                          <a:r>
                            <a:rPr lang="en-US" sz="2000" kern="1200" dirty="0"/>
                            <a:t>and imaging</a:t>
                          </a:r>
                          <a:endParaRPr lang="en-US" sz="2000" b="0" kern="12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3"/>
                          <a:stretch>
                            <a:fillRect l="-82619" t="-44156" r="-451" b="-18896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869979">
                    <a:tc>
                      <a:txBody>
                        <a:bodyPr/>
                        <a:lstStyle/>
                        <a:p>
                          <a:pPr marL="0" indent="0" algn="l">
                            <a:buFontTx/>
                            <a:buNone/>
                          </a:pPr>
                          <a:r>
                            <a:rPr lang="en-US" sz="2000" b="1" kern="1200" dirty="0"/>
                            <a:t> MAST </a:t>
                          </a:r>
                          <a:endParaRPr lang="en-US" sz="2000" b="1" kern="1200" baseline="300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000" kern="1200" dirty="0"/>
                            <a:t>Blood test</a:t>
                          </a:r>
                          <a:br>
                            <a:rPr lang="en-US" sz="2000" kern="1200" dirty="0"/>
                          </a:br>
                          <a:r>
                            <a:rPr lang="en-US" sz="2000" kern="1200" dirty="0"/>
                            <a:t>and imaging</a:t>
                          </a:r>
                          <a:endParaRPr lang="en-US" sz="2000" b="0" kern="12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000" b="0" kern="1200" dirty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:r>
                            <a:rPr lang="en-US" sz="2000" b="0" kern="1200" dirty="0">
                              <a:solidFill>
                                <a:schemeClr val="tx1"/>
                              </a:solidFill>
                            </a:rPr>
                            <a:t>MRI-PDFF, MRE, AST</a:t>
                          </a:r>
                          <a:endParaRPr lang="en-US" sz="2000" b="0" kern="1200" dirty="0">
                            <a:solidFill>
                              <a:schemeClr val="tx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740378230"/>
                      </a:ext>
                    </a:extLst>
                  </a:tr>
                  <a:tr h="869979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2000" b="1" u="none" baseline="0" dirty="0"/>
                            <a:t> MEFIB</a:t>
                          </a:r>
                          <a:endParaRPr lang="en-US" sz="2000" b="1" u="none" baseline="300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000" kern="1200" dirty="0"/>
                            <a:t>Blood test</a:t>
                          </a:r>
                          <a:br>
                            <a:rPr lang="en-US" sz="2000" kern="1200" dirty="0"/>
                          </a:br>
                          <a:r>
                            <a:rPr lang="en-US" sz="2000" kern="1200" dirty="0"/>
                            <a:t>and imaging</a:t>
                          </a:r>
                          <a:endParaRPr lang="en-US" sz="2000" b="0" kern="1200" dirty="0">
                            <a:solidFill>
                              <a:schemeClr val="bg1"/>
                            </a:solidFill>
                            <a:latin typeface="Verdana" panose="020B0604030504040204" pitchFamily="34" charset="0"/>
                            <a:ea typeface="Verdana" panose="020B060403050404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3"/>
                          <a:stretch>
                            <a:fillRect l="-82619" t="-255245" r="-451" b="-3497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28442610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Title 1">
            <a:extLst>
              <a:ext uri="{FF2B5EF4-FFF2-40B4-BE49-F238E27FC236}">
                <a16:creationId xmlns:a16="http://schemas.microsoft.com/office/drawing/2014/main" id="{CC391E7E-2D8D-2452-E232-4F0C5433CE43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Tests for detection of “high-risk” NASH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C19EDA-C958-8CD8-E39D-343812F8950F}"/>
              </a:ext>
            </a:extLst>
          </p:cNvPr>
          <p:cNvSpPr txBox="1"/>
          <p:nvPr/>
        </p:nvSpPr>
        <p:spPr>
          <a:xfrm>
            <a:off x="1474231" y="6310839"/>
            <a:ext cx="99789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ST, aspartate aminotransferase; CAP, Controlled attenuation parameter; FAST, FibroScan-AST; FIB-4, fibrosis-4 index; MAST, magnetic resonance imaging-aspartate aminotransferase; MEFIB, </a:t>
            </a:r>
            <a:r>
              <a:rPr lang="en-GB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agnetic resonance elastography plus FIB-4; 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RE, magnetic resonance elastography; MRI-PDFF, </a:t>
            </a:r>
            <a:r>
              <a:rPr lang="en-GB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agnetic Resonance Imaging-Proton Density Fat Fraction; 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SH, non-alcoholic steatohepatitis; PPV, Positive Predictive Value; VCTE, vibration controlled transient elastography</a:t>
            </a:r>
            <a:r>
              <a:rPr lang="en-US" altLang="en-US" sz="8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.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800" b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nstee</a:t>
            </a: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QM, et al. J Hep. 2022;76:1362</a:t>
            </a:r>
          </a:p>
        </p:txBody>
      </p:sp>
    </p:spTree>
    <p:extLst>
      <p:ext uri="{BB962C8B-B14F-4D97-AF65-F5344CB8AC3E}">
        <p14:creationId xmlns:p14="http://schemas.microsoft.com/office/powerpoint/2010/main" val="81171275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5AD8ACF-6F2C-984E-7340-3C902B6C801A}"/>
              </a:ext>
            </a:extLst>
          </p:cNvPr>
          <p:cNvSpPr/>
          <p:nvPr/>
        </p:nvSpPr>
        <p:spPr>
          <a:xfrm>
            <a:off x="11469" y="4754212"/>
            <a:ext cx="12171006" cy="9159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75E3D1-2673-CC4A-9747-7ED22CCA3333}"/>
              </a:ext>
            </a:extLst>
          </p:cNvPr>
          <p:cNvSpPr/>
          <p:nvPr/>
        </p:nvSpPr>
        <p:spPr>
          <a:xfrm>
            <a:off x="886779" y="1897992"/>
            <a:ext cx="3640551" cy="6420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bsence of advanced fibros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FF9CFA-2539-3948-94A5-14807336BC66}"/>
              </a:ext>
            </a:extLst>
          </p:cNvPr>
          <p:cNvSpPr/>
          <p:nvPr/>
        </p:nvSpPr>
        <p:spPr>
          <a:xfrm>
            <a:off x="886779" y="3436824"/>
            <a:ext cx="4397625" cy="6420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bsence of advanced fibro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D745F61-9DF8-CC48-9D71-6FA5993C67FE}"/>
              </a:ext>
            </a:extLst>
          </p:cNvPr>
          <p:cNvSpPr/>
          <p:nvPr/>
        </p:nvSpPr>
        <p:spPr>
          <a:xfrm>
            <a:off x="4527330" y="1897992"/>
            <a:ext cx="3500273" cy="642025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determina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1F5246-77B2-8E4E-A9E5-786272A1A881}"/>
              </a:ext>
            </a:extLst>
          </p:cNvPr>
          <p:cNvSpPr/>
          <p:nvPr/>
        </p:nvSpPr>
        <p:spPr>
          <a:xfrm>
            <a:off x="8027603" y="1897992"/>
            <a:ext cx="3639207" cy="642025"/>
          </a:xfrm>
          <a:prstGeom prst="rect">
            <a:avLst/>
          </a:prstGeom>
          <a:solidFill>
            <a:srgbClr val="00B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esence of advanced fibrosi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1DB097-3997-8D4A-AF12-E7C8B34C1104}"/>
              </a:ext>
            </a:extLst>
          </p:cNvPr>
          <p:cNvSpPr/>
          <p:nvPr/>
        </p:nvSpPr>
        <p:spPr>
          <a:xfrm>
            <a:off x="7239328" y="3429578"/>
            <a:ext cx="4427482" cy="656517"/>
          </a:xfrm>
          <a:prstGeom prst="rect">
            <a:avLst/>
          </a:prstGeom>
          <a:solidFill>
            <a:srgbClr val="00B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esence of advanced fibrosi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6BC5A3-67D1-7B46-804F-F5C071F8CE8B}"/>
              </a:ext>
            </a:extLst>
          </p:cNvPr>
          <p:cNvSpPr/>
          <p:nvPr/>
        </p:nvSpPr>
        <p:spPr>
          <a:xfrm>
            <a:off x="5284404" y="3436824"/>
            <a:ext cx="1954924" cy="642025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determin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60C6D1-65F7-B547-85CC-211372AE4A57}"/>
              </a:ext>
            </a:extLst>
          </p:cNvPr>
          <p:cNvSpPr txBox="1"/>
          <p:nvPr/>
        </p:nvSpPr>
        <p:spPr>
          <a:xfrm>
            <a:off x="886779" y="1377375"/>
            <a:ext cx="1906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20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est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9639A0-D0CE-8B4E-8D97-58687EEC6ADF}"/>
              </a:ext>
            </a:extLst>
          </p:cNvPr>
          <p:cNvSpPr txBox="1"/>
          <p:nvPr/>
        </p:nvSpPr>
        <p:spPr>
          <a:xfrm>
            <a:off x="829096" y="2950791"/>
            <a:ext cx="26302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20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est 1 + Test 2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2EF8C7A-5745-D54A-9795-26A86B27BD1D}"/>
              </a:ext>
            </a:extLst>
          </p:cNvPr>
          <p:cNvCxnSpPr>
            <a:cxnSpLocks/>
          </p:cNvCxnSpPr>
          <p:nvPr/>
        </p:nvCxnSpPr>
        <p:spPr>
          <a:xfrm>
            <a:off x="4527330" y="2551656"/>
            <a:ext cx="713810" cy="875913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04F4D0C-0455-C046-812D-F64A47B9F6AB}"/>
              </a:ext>
            </a:extLst>
          </p:cNvPr>
          <p:cNvCxnSpPr>
            <a:cxnSpLocks/>
          </p:cNvCxnSpPr>
          <p:nvPr/>
        </p:nvCxnSpPr>
        <p:spPr>
          <a:xfrm flipH="1">
            <a:off x="7239328" y="2538634"/>
            <a:ext cx="788275" cy="858086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9">
            <a:extLst>
              <a:ext uri="{FF2B5EF4-FFF2-40B4-BE49-F238E27FC236}">
                <a16:creationId xmlns:a16="http://schemas.microsoft.com/office/drawing/2014/main" id="{531A0800-5888-2143-8ED7-5E53A1212856}"/>
              </a:ext>
            </a:extLst>
          </p:cNvPr>
          <p:cNvSpPr/>
          <p:nvPr/>
        </p:nvSpPr>
        <p:spPr>
          <a:xfrm>
            <a:off x="692029" y="4834287"/>
            <a:ext cx="10809887" cy="736770"/>
          </a:xfrm>
          <a:prstGeom prst="roundRect">
            <a:avLst>
              <a:gd name="adj" fmla="val 0"/>
            </a:avLst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he sequential use of NIT maintains sensitivity and specificity 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while enabling the classification of a larger proportion of patients</a:t>
            </a:r>
            <a:endParaRPr kumimoji="0" lang="en-GB" sz="20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D7FAD1D-712E-DB95-FAEB-8AEA79FEC0D4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Sequential non-invasive tes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D351BD-993F-23C1-CD32-BAAC67887536}"/>
              </a:ext>
            </a:extLst>
          </p:cNvPr>
          <p:cNvSpPr txBox="1"/>
          <p:nvPr/>
        </p:nvSpPr>
        <p:spPr>
          <a:xfrm>
            <a:off x="1423989" y="6324101"/>
            <a:ext cx="99789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IT, non-invasive tests</a:t>
            </a:r>
            <a:b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altLang="en-US" sz="8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Younossi, AASLD, 2018, Abstr.LB-10</a:t>
            </a:r>
          </a:p>
        </p:txBody>
      </p:sp>
    </p:spTree>
    <p:extLst>
      <p:ext uri="{BB962C8B-B14F-4D97-AF65-F5344CB8AC3E}">
        <p14:creationId xmlns:p14="http://schemas.microsoft.com/office/powerpoint/2010/main" val="473849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8EA1DA2B-339B-46EA-317E-C19F0F8061DD}"/>
              </a:ext>
            </a:extLst>
          </p:cNvPr>
          <p:cNvGrpSpPr/>
          <p:nvPr/>
        </p:nvGrpSpPr>
        <p:grpSpPr>
          <a:xfrm>
            <a:off x="4203152" y="187870"/>
            <a:ext cx="7932858" cy="6117680"/>
            <a:chOff x="4203152" y="111670"/>
            <a:chExt cx="7932858" cy="631789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370CDEC-2DC4-A14C-BFFD-30075AF21466}"/>
                </a:ext>
              </a:extLst>
            </p:cNvPr>
            <p:cNvSpPr/>
            <p:nvPr/>
          </p:nvSpPr>
          <p:spPr>
            <a:xfrm>
              <a:off x="4203152" y="111670"/>
              <a:ext cx="7425558" cy="5833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.Patients with NAFLD at risk for fibrosis 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4A4A62-7C45-954C-9EAF-899C9F18A013}"/>
                </a:ext>
              </a:extLst>
            </p:cNvPr>
            <p:cNvSpPr/>
            <p:nvPr/>
          </p:nvSpPr>
          <p:spPr>
            <a:xfrm>
              <a:off x="4203152" y="710759"/>
              <a:ext cx="2475186" cy="7094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&gt;2 metabolic risk factors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02EF9C6-E14F-5C47-A9EA-69CA4B7EE61A}"/>
                </a:ext>
              </a:extLst>
            </p:cNvPr>
            <p:cNvSpPr/>
            <p:nvPr/>
          </p:nvSpPr>
          <p:spPr>
            <a:xfrm>
              <a:off x="6678338" y="710759"/>
              <a:ext cx="2475186" cy="7094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Type 2 diabete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BF7254-9F90-E846-8B4D-944F64F2C7A7}"/>
                </a:ext>
              </a:extLst>
            </p:cNvPr>
            <p:cNvSpPr/>
            <p:nvPr/>
          </p:nvSpPr>
          <p:spPr>
            <a:xfrm>
              <a:off x="9153524" y="707694"/>
              <a:ext cx="2475186" cy="7094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Steatosis (imaging) or cytolysi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E1E0AB3-26FD-9A41-B489-43407CB51E33}"/>
                </a:ext>
              </a:extLst>
            </p:cNvPr>
            <p:cNvSpPr/>
            <p:nvPr/>
          </p:nvSpPr>
          <p:spPr>
            <a:xfrm>
              <a:off x="4203152" y="1664571"/>
              <a:ext cx="7425558" cy="5833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. Medical history and lab</a:t>
              </a:r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ests (</a:t>
              </a:r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.g. alcohol intake, liver tests</a:t>
              </a:r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)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6D955EF-5A5E-D04B-8961-7051D89C9F0E}"/>
                </a:ext>
              </a:extLst>
            </p:cNvPr>
            <p:cNvSpPr/>
            <p:nvPr/>
          </p:nvSpPr>
          <p:spPr>
            <a:xfrm>
              <a:off x="4203152" y="2492255"/>
              <a:ext cx="7425558" cy="5833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. Non</a:t>
              </a:r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</a:t>
              </a:r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vasive testing for fibrosis: FIB</a:t>
              </a:r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</a:t>
              </a:r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4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309BCB8-348A-9340-B906-BF37C575B158}"/>
                </a:ext>
              </a:extLst>
            </p:cNvPr>
            <p:cNvSpPr/>
            <p:nvPr/>
          </p:nvSpPr>
          <p:spPr>
            <a:xfrm>
              <a:off x="4203152" y="3083431"/>
              <a:ext cx="2475186" cy="291661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 FIB</a:t>
              </a:r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-</a:t>
              </a:r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4&lt;1.3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2E48AB-92EC-A041-99B9-39EF91F992D6}"/>
                </a:ext>
              </a:extLst>
            </p:cNvPr>
            <p:cNvSpPr/>
            <p:nvPr/>
          </p:nvSpPr>
          <p:spPr>
            <a:xfrm>
              <a:off x="6678338" y="3091283"/>
              <a:ext cx="2475186" cy="291661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 FIB</a:t>
              </a:r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-</a:t>
              </a:r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4</a:t>
              </a:r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:</a:t>
              </a:r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1.3</a:t>
              </a:r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–</a:t>
              </a:r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2.67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36855F6-992B-7A43-8243-C8290003A569}"/>
                </a:ext>
              </a:extLst>
            </p:cNvPr>
            <p:cNvSpPr/>
            <p:nvPr/>
          </p:nvSpPr>
          <p:spPr>
            <a:xfrm>
              <a:off x="9153524" y="3075579"/>
              <a:ext cx="2475186" cy="291661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 FIB</a:t>
              </a:r>
              <a:r>
                <a:rPr lang="en-GB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-</a:t>
              </a:r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4 &gt;2.67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944DDA3-0449-2D41-A11A-BF405895AEBB}"/>
                </a:ext>
              </a:extLst>
            </p:cNvPr>
            <p:cNvSpPr/>
            <p:nvPr/>
          </p:nvSpPr>
          <p:spPr>
            <a:xfrm>
              <a:off x="6678338" y="3597943"/>
              <a:ext cx="2632842" cy="4572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Indeterminate </a:t>
              </a:r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</a:t>
              </a:r>
              <a:r>
                <a:rPr lang="ro-RO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sk 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9502B15-D479-1849-A094-CFB18CF64C24}"/>
                </a:ext>
              </a:extLst>
            </p:cNvPr>
            <p:cNvSpPr/>
            <p:nvPr/>
          </p:nvSpPr>
          <p:spPr>
            <a:xfrm>
              <a:off x="5196379" y="4191000"/>
              <a:ext cx="5470637" cy="4572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4. Liver stiffness measurement, ELF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1041D09-1B2A-C541-9668-AABBE03568E9}"/>
                </a:ext>
              </a:extLst>
            </p:cNvPr>
            <p:cNvSpPr/>
            <p:nvPr/>
          </p:nvSpPr>
          <p:spPr>
            <a:xfrm>
              <a:off x="5196380" y="4648211"/>
              <a:ext cx="1679030" cy="7094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VCTE &lt;8kPa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MRE &lt;2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.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6kPa 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ELF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&lt;7.7 </a:t>
              </a:r>
            </a:p>
            <a:p>
              <a:pPr algn="ctr"/>
              <a:endParaRPr lang="ro-RO" sz="14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F72B0D5-B088-FD40-8DC0-4A58F8B208F0}"/>
                </a:ext>
              </a:extLst>
            </p:cNvPr>
            <p:cNvSpPr/>
            <p:nvPr/>
          </p:nvSpPr>
          <p:spPr>
            <a:xfrm>
              <a:off x="6875410" y="4648210"/>
              <a:ext cx="1962803" cy="7094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VCTE: 8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–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12 kPa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MR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E: 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2.6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–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3.6 kPa,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ELF: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7.7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–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9.8 </a:t>
              </a:r>
            </a:p>
            <a:p>
              <a:pPr algn="ctr"/>
              <a:endParaRPr lang="ro-RO" sz="14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2CC7A90-DC00-D14B-9078-D4910BB5AA41}"/>
                </a:ext>
              </a:extLst>
            </p:cNvPr>
            <p:cNvSpPr/>
            <p:nvPr/>
          </p:nvSpPr>
          <p:spPr>
            <a:xfrm>
              <a:off x="8846090" y="4648210"/>
              <a:ext cx="1820926" cy="7094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o-RO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VCTE &gt;12 </a:t>
              </a:r>
              <a:r>
                <a:rPr lang="ro-RO" sz="1200" dirty="0" err="1">
                  <a:latin typeface="Verdana" panose="020B0604030504040204" pitchFamily="34" charset="0"/>
                  <a:ea typeface="Verdana" panose="020B0604030504040204" pitchFamily="34" charset="0"/>
                </a:rPr>
                <a:t>kPa</a:t>
              </a:r>
              <a:endParaRPr lang="ro-RO" sz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MRE &gt;3.6 </a:t>
              </a:r>
              <a:r>
                <a:rPr lang="ro-RO" sz="1200" dirty="0" err="1">
                  <a:latin typeface="Verdana" panose="020B0604030504040204" pitchFamily="34" charset="0"/>
                  <a:ea typeface="Verdana" panose="020B0604030504040204" pitchFamily="34" charset="0"/>
                </a:rPr>
                <a:t>kPa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,</a:t>
              </a:r>
            </a:p>
            <a:p>
              <a:pPr algn="ctr"/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ELF</a:t>
              </a:r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ro-RO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&gt;9.8 </a:t>
              </a:r>
            </a:p>
            <a:p>
              <a:pPr algn="ctr"/>
              <a:endParaRPr lang="ro-RO" sz="14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F428809-A6E4-624E-9079-72959DF538E6}"/>
                </a:ext>
              </a:extLst>
            </p:cNvPr>
            <p:cNvSpPr/>
            <p:nvPr/>
          </p:nvSpPr>
          <p:spPr>
            <a:xfrm>
              <a:off x="4203152" y="5526284"/>
              <a:ext cx="2475186" cy="901972"/>
            </a:xfrm>
            <a:prstGeom prst="rect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latin typeface="Verdana" panose="020B0604030504040204" pitchFamily="34" charset="0"/>
                  <a:ea typeface="Verdana" panose="020B0604030504040204" pitchFamily="34" charset="0"/>
                </a:rPr>
                <a:t>Low Risk </a:t>
              </a:r>
            </a:p>
            <a:p>
              <a:pPr algn="ctr"/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Repeat NIT in 2–3 years</a:t>
              </a:r>
            </a:p>
            <a:p>
              <a:pPr algn="ctr"/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unless clinical features chang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3F50D02-69C1-D641-8F26-9CA90F23912C}"/>
                </a:ext>
              </a:extLst>
            </p:cNvPr>
            <p:cNvSpPr/>
            <p:nvPr/>
          </p:nvSpPr>
          <p:spPr>
            <a:xfrm>
              <a:off x="6819820" y="5527588"/>
              <a:ext cx="2587354" cy="901972"/>
            </a:xfrm>
            <a:prstGeom prst="rect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latin typeface="Verdana" panose="020B0604030504040204" pitchFamily="34" charset="0"/>
                  <a:ea typeface="Verdana" panose="020B0604030504040204" pitchFamily="34" charset="0"/>
                </a:rPr>
                <a:t>Intermediate Risk</a:t>
              </a:r>
              <a:endParaRPr lang="en-GB" sz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/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Refer to hepatologis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D426ADD-C9CE-9F42-8E37-851B3D1339AC}"/>
                </a:ext>
              </a:extLst>
            </p:cNvPr>
            <p:cNvSpPr/>
            <p:nvPr/>
          </p:nvSpPr>
          <p:spPr>
            <a:xfrm>
              <a:off x="9548656" y="5526284"/>
              <a:ext cx="2587354" cy="901972"/>
            </a:xfrm>
            <a:prstGeom prst="rect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latin typeface="Verdana" panose="020B0604030504040204" pitchFamily="34" charset="0"/>
                  <a:ea typeface="Verdana" panose="020B0604030504040204" pitchFamily="34" charset="0"/>
                </a:rPr>
                <a:t>High Risk</a:t>
              </a:r>
              <a:endParaRPr lang="en-GB" sz="12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algn="ctr"/>
              <a:r>
                <a:rPr lang="en-GB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Refer to hepatologist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B5D13BC-06B0-9F41-974D-1BB2A2E3C85E}"/>
                </a:ext>
              </a:extLst>
            </p:cNvPr>
            <p:cNvCxnSpPr>
              <a:stCxn id="4" idx="2"/>
            </p:cNvCxnSpPr>
            <p:nvPr/>
          </p:nvCxnSpPr>
          <p:spPr>
            <a:xfrm>
              <a:off x="5440745" y="1420208"/>
              <a:ext cx="2628" cy="244363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9C2906F8-19A0-5149-932D-46F14F05C743}"/>
                </a:ext>
              </a:extLst>
            </p:cNvPr>
            <p:cNvCxnSpPr>
              <a:stCxn id="5" idx="2"/>
              <a:endCxn id="7" idx="0"/>
            </p:cNvCxnSpPr>
            <p:nvPr/>
          </p:nvCxnSpPr>
          <p:spPr>
            <a:xfrm>
              <a:off x="7915931" y="1420208"/>
              <a:ext cx="0" cy="244363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1C2E3C95-E9F1-2E43-8F3A-2EFBD9B7CD7B}"/>
                </a:ext>
              </a:extLst>
            </p:cNvPr>
            <p:cNvCxnSpPr>
              <a:stCxn id="6" idx="2"/>
            </p:cNvCxnSpPr>
            <p:nvPr/>
          </p:nvCxnSpPr>
          <p:spPr>
            <a:xfrm>
              <a:off x="10391117" y="1417143"/>
              <a:ext cx="0" cy="260128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A91B21C7-8AA6-934D-A46E-3D6C1DA58958}"/>
                </a:ext>
              </a:extLst>
            </p:cNvPr>
            <p:cNvCxnSpPr>
              <a:stCxn id="7" idx="2"/>
              <a:endCxn id="8" idx="0"/>
            </p:cNvCxnSpPr>
            <p:nvPr/>
          </p:nvCxnSpPr>
          <p:spPr>
            <a:xfrm>
              <a:off x="7915931" y="2247895"/>
              <a:ext cx="0" cy="244360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310B7C36-3273-1241-B0A8-750E990840E8}"/>
                </a:ext>
              </a:extLst>
            </p:cNvPr>
            <p:cNvCxnSpPr>
              <a:stCxn id="10" idx="2"/>
              <a:endCxn id="12" idx="0"/>
            </p:cNvCxnSpPr>
            <p:nvPr/>
          </p:nvCxnSpPr>
          <p:spPr>
            <a:xfrm>
              <a:off x="7915931" y="3382944"/>
              <a:ext cx="0" cy="214999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AA2D023C-AA5C-9B4E-98D7-D69650ABBF32}"/>
                </a:ext>
              </a:extLst>
            </p:cNvPr>
            <p:cNvCxnSpPr>
              <a:stCxn id="12" idx="2"/>
              <a:endCxn id="15" idx="0"/>
            </p:cNvCxnSpPr>
            <p:nvPr/>
          </p:nvCxnSpPr>
          <p:spPr>
            <a:xfrm flipH="1">
              <a:off x="7931698" y="4055154"/>
              <a:ext cx="0" cy="135846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090BDDCD-FE4D-8A44-A2EA-919F10DEB05F}"/>
                </a:ext>
              </a:extLst>
            </p:cNvPr>
            <p:cNvCxnSpPr/>
            <p:nvPr/>
          </p:nvCxnSpPr>
          <p:spPr>
            <a:xfrm>
              <a:off x="4447413" y="3382944"/>
              <a:ext cx="0" cy="2143340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74F86FE-3E6D-B04C-AECF-59173BCA07FB}"/>
                </a:ext>
              </a:extLst>
            </p:cNvPr>
            <p:cNvCxnSpPr>
              <a:stCxn id="17" idx="2"/>
            </p:cNvCxnSpPr>
            <p:nvPr/>
          </p:nvCxnSpPr>
          <p:spPr>
            <a:xfrm flipH="1">
              <a:off x="7856811" y="5357659"/>
              <a:ext cx="1" cy="168625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435CEB34-2F79-DB42-B397-38DC94A20116}"/>
                </a:ext>
              </a:extLst>
            </p:cNvPr>
            <p:cNvCxnSpPr>
              <a:stCxn id="16" idx="2"/>
            </p:cNvCxnSpPr>
            <p:nvPr/>
          </p:nvCxnSpPr>
          <p:spPr>
            <a:xfrm flipH="1">
              <a:off x="5934837" y="5357660"/>
              <a:ext cx="0" cy="168624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07CA5838-92F7-C74E-B20C-02900128A4E4}"/>
                </a:ext>
              </a:extLst>
            </p:cNvPr>
            <p:cNvCxnSpPr>
              <a:stCxn id="18" idx="2"/>
            </p:cNvCxnSpPr>
            <p:nvPr/>
          </p:nvCxnSpPr>
          <p:spPr>
            <a:xfrm>
              <a:off x="9756553" y="5357659"/>
              <a:ext cx="0" cy="168625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41A7BCA8-BE82-DC44-A804-6EC0E3E1A7F8}"/>
                </a:ext>
              </a:extLst>
            </p:cNvPr>
            <p:cNvCxnSpPr/>
            <p:nvPr/>
          </p:nvCxnSpPr>
          <p:spPr>
            <a:xfrm>
              <a:off x="11409045" y="3375092"/>
              <a:ext cx="0" cy="2151192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6AF9105F-D673-E84B-AA31-E045E63FCDA4}"/>
              </a:ext>
            </a:extLst>
          </p:cNvPr>
          <p:cNvSpPr/>
          <p:nvPr/>
        </p:nvSpPr>
        <p:spPr>
          <a:xfrm>
            <a:off x="1503914" y="6300012"/>
            <a:ext cx="1077517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ELF, enhanced liver fibrosis score; FIB-4, fibrosis-4 index;</a:t>
            </a:r>
            <a:r>
              <a:rPr lang="en-GB" alt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MAFLD, metabolic-dysfunction associated fatty liver disease; </a:t>
            </a:r>
            <a:r>
              <a:rPr lang="en-US" alt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RE, magnetic resonance elastography; NAFLD, non-alcoholic fatty liver disease;</a:t>
            </a:r>
            <a:r>
              <a:rPr lang="en-GB" alt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SH, non-alcoholic steatohepatitis; NIT, non-invasive test; VCTE, vibration controlled transient elastography.</a:t>
            </a:r>
            <a:br>
              <a:rPr lang="en-US" alt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Beirut" pitchFamily="2" charset="-78"/>
              </a:rPr>
              <a:t>Kanwal F, et al. Gastroenterology 2021;161:1657–1669; Ajmera V, et al.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  <a:cs typeface="Beirut" pitchFamily="2" charset="-78"/>
              </a:rPr>
              <a:t>Molec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Beirut" pitchFamily="2" charset="-78"/>
              </a:rPr>
              <a:t>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  <a:cs typeface="Beirut" pitchFamily="2" charset="-78"/>
              </a:rPr>
              <a:t>Metab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Beirut" pitchFamily="2" charset="-78"/>
              </a:rPr>
              <a:t> 2021;50:101167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8E26B3A-43EE-954F-B2BC-4A58C829A97D}"/>
              </a:ext>
            </a:extLst>
          </p:cNvPr>
          <p:cNvSpPr txBox="1"/>
          <p:nvPr/>
        </p:nvSpPr>
        <p:spPr>
          <a:xfrm>
            <a:off x="267926" y="1775931"/>
            <a:ext cx="3925701" cy="1393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●</a:t>
            </a:r>
            <a:r>
              <a:rPr lang="en-US" dirty="0">
                <a:latin typeface="Century Gothic" panose="020B0502020202020204" pitchFamily="34" charset="0"/>
              </a:rPr>
              <a:t> </a:t>
            </a:r>
            <a:r>
              <a:rPr lang="en-US" b="1" dirty="0">
                <a:latin typeface="Century Gothic" panose="020B0502020202020204" pitchFamily="34" charset="0"/>
              </a:rPr>
              <a:t>MAFLD Clinical Care Pathway</a:t>
            </a:r>
            <a:r>
              <a:rPr lang="en-US" dirty="0">
                <a:latin typeface="Century Gothic" panose="020B0502020202020204" pitchFamily="34" charset="0"/>
              </a:rPr>
              <a:t>:  combines screening with diagnosis because of the overlap between these two step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131382-539A-DEBD-7529-AD3F7CD60664}"/>
              </a:ext>
            </a:extLst>
          </p:cNvPr>
          <p:cNvSpPr txBox="1">
            <a:spLocks/>
          </p:cNvSpPr>
          <p:nvPr/>
        </p:nvSpPr>
        <p:spPr>
          <a:xfrm>
            <a:off x="384417" y="242174"/>
            <a:ext cx="11362660" cy="119109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Screening for </a:t>
            </a:r>
            <a:br>
              <a:rPr lang="en-GB" dirty="0"/>
            </a:br>
            <a:r>
              <a:rPr lang="en-GB" dirty="0"/>
              <a:t>advanced fibrosis </a:t>
            </a:r>
            <a:br>
              <a:rPr lang="en-GB" dirty="0"/>
            </a:br>
            <a:r>
              <a:rPr lang="en-GB" dirty="0"/>
              <a:t>in MAFLD </a:t>
            </a:r>
          </a:p>
        </p:txBody>
      </p:sp>
    </p:spTree>
    <p:extLst>
      <p:ext uri="{BB962C8B-B14F-4D97-AF65-F5344CB8AC3E}">
        <p14:creationId xmlns:p14="http://schemas.microsoft.com/office/powerpoint/2010/main" val="37228685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3B788B99-A181-CD47-915A-67ECC297668C}"/>
              </a:ext>
            </a:extLst>
          </p:cNvPr>
          <p:cNvSpPr txBox="1"/>
          <p:nvPr/>
        </p:nvSpPr>
        <p:spPr>
          <a:xfrm>
            <a:off x="8895734" y="1861484"/>
            <a:ext cx="3296266" cy="2394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16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Lifestyle intervention</a:t>
            </a:r>
          </a:p>
          <a:p>
            <a:pPr>
              <a:lnSpc>
                <a:spcPts val="2560"/>
              </a:lnSpc>
            </a:pPr>
            <a:r>
              <a:rPr lang="en-US" sz="16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Structured weight loss</a:t>
            </a:r>
          </a:p>
          <a:p>
            <a:pPr>
              <a:lnSpc>
                <a:spcPts val="2560"/>
              </a:lnSpc>
            </a:pP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  programs </a:t>
            </a:r>
          </a:p>
          <a:p>
            <a:pPr>
              <a:lnSpc>
                <a:spcPts val="2560"/>
              </a:lnSpc>
            </a:pPr>
            <a:r>
              <a:rPr lang="en-US" sz="16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CV risk reduction </a:t>
            </a:r>
          </a:p>
          <a:p>
            <a:pPr>
              <a:lnSpc>
                <a:spcPts val="2560"/>
              </a:lnSpc>
            </a:pPr>
            <a:r>
              <a:rPr lang="en-US" sz="16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Diabetes care</a:t>
            </a:r>
          </a:p>
          <a:p>
            <a:pPr>
              <a:lnSpc>
                <a:spcPts val="2560"/>
              </a:lnSpc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Atherogenic dyslipidemia</a:t>
            </a:r>
          </a:p>
          <a:p>
            <a:pPr>
              <a:lnSpc>
                <a:spcPts val="2560"/>
              </a:lnSpc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●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Hypertension ca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67F782-9C05-95F3-E1E7-B3A6590C1E8C}"/>
              </a:ext>
            </a:extLst>
          </p:cNvPr>
          <p:cNvGrpSpPr/>
          <p:nvPr/>
        </p:nvGrpSpPr>
        <p:grpSpPr>
          <a:xfrm>
            <a:off x="948857" y="868636"/>
            <a:ext cx="9422112" cy="5411584"/>
            <a:chOff x="948857" y="868635"/>
            <a:chExt cx="10023712" cy="575711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7D438CC-6F06-7A4F-A932-88BDF50198BC}"/>
                </a:ext>
              </a:extLst>
            </p:cNvPr>
            <p:cNvSpPr/>
            <p:nvPr/>
          </p:nvSpPr>
          <p:spPr bwMode="auto">
            <a:xfrm>
              <a:off x="948857" y="1450862"/>
              <a:ext cx="2409197" cy="5560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High-risk groups</a:t>
              </a:r>
              <a:b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for the development</a:t>
              </a:r>
              <a:b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</a:rPr>
                <a:t>of NAFLD</a:t>
              </a:r>
            </a:p>
          </p:txBody>
        </p:sp>
        <p:sp>
          <p:nvSpPr>
            <p:cNvPr id="6" name="Rectangle: Rounded Corners 8">
              <a:extLst>
                <a:ext uri="{FF2B5EF4-FFF2-40B4-BE49-F238E27FC236}">
                  <a16:creationId xmlns:a16="http://schemas.microsoft.com/office/drawing/2014/main" id="{F77DA81B-F822-B94A-8AF3-4437A9A3D7ED}"/>
                </a:ext>
              </a:extLst>
            </p:cNvPr>
            <p:cNvSpPr/>
            <p:nvPr/>
          </p:nvSpPr>
          <p:spPr bwMode="auto">
            <a:xfrm>
              <a:off x="1210142" y="2235299"/>
              <a:ext cx="2147912" cy="110331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diabetes </a:t>
              </a:r>
              <a:b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r </a:t>
              </a:r>
              <a:b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2DM</a:t>
              </a:r>
            </a:p>
          </p:txBody>
        </p:sp>
        <p:sp>
          <p:nvSpPr>
            <p:cNvPr id="7" name="Rectangle: Rounded Corners 9">
              <a:extLst>
                <a:ext uri="{FF2B5EF4-FFF2-40B4-BE49-F238E27FC236}">
                  <a16:creationId xmlns:a16="http://schemas.microsoft.com/office/drawing/2014/main" id="{FE22DFC6-4D11-7A45-B5D2-C390BF2AA172}"/>
                </a:ext>
              </a:extLst>
            </p:cNvPr>
            <p:cNvSpPr/>
            <p:nvPr/>
          </p:nvSpPr>
          <p:spPr bwMode="auto">
            <a:xfrm>
              <a:off x="1210142" y="3567015"/>
              <a:ext cx="2147912" cy="110331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Obesity</a:t>
              </a:r>
              <a:b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and/or</a:t>
              </a:r>
              <a:b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≥2 cardiometabolic risk factors</a:t>
              </a:r>
              <a:endParaRPr lang="en-US" sz="1200" b="0" baseline="30000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" name="Rectangle: Rounded Corners 10">
              <a:extLst>
                <a:ext uri="{FF2B5EF4-FFF2-40B4-BE49-F238E27FC236}">
                  <a16:creationId xmlns:a16="http://schemas.microsoft.com/office/drawing/2014/main" id="{EB590225-3B1C-A04A-8D34-F46B76CE54E6}"/>
                </a:ext>
              </a:extLst>
            </p:cNvPr>
            <p:cNvSpPr/>
            <p:nvPr/>
          </p:nvSpPr>
          <p:spPr bwMode="auto">
            <a:xfrm>
              <a:off x="1210142" y="4898730"/>
              <a:ext cx="2147912" cy="1324269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Hepatic steatosis</a:t>
              </a:r>
              <a:b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(on imaging)</a:t>
              </a:r>
              <a:b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r</a:t>
              </a:r>
              <a:b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↑AST or ALT</a:t>
              </a:r>
              <a:b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1200" b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(&gt;30 IU/L)</a:t>
              </a:r>
              <a:endParaRPr lang="en-US" sz="1200" b="0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916D5A2-1AF8-434F-81B9-D93CA718EED5}"/>
                </a:ext>
              </a:extLst>
            </p:cNvPr>
            <p:cNvSpPr/>
            <p:nvPr/>
          </p:nvSpPr>
          <p:spPr bwMode="auto">
            <a:xfrm>
              <a:off x="3996857" y="868635"/>
              <a:ext cx="6620343" cy="49654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</a:rPr>
                <a:t>Management by multidisciplinary team: </a:t>
              </a:r>
            </a:p>
            <a:p>
              <a:pPr algn="ctr" eaLnBrk="1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</a:rPr>
                <a:t>Hepatologist, dietician, endocrinologist, cardiologist 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D493FC5-0DF4-B44A-AA1D-0A4CA3B2ADF0}"/>
                </a:ext>
              </a:extLst>
            </p:cNvPr>
            <p:cNvGrpSpPr/>
            <p:nvPr/>
          </p:nvGrpSpPr>
          <p:grpSpPr>
            <a:xfrm>
              <a:off x="3996857" y="3431937"/>
              <a:ext cx="2139875" cy="1334275"/>
              <a:chOff x="3783968" y="3419944"/>
              <a:chExt cx="2309636" cy="1440126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9A0E9713-88E2-A44A-AC80-370AD9CBBF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83968" y="3419944"/>
                <a:ext cx="2309636" cy="1440126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2" name="Picture 11" descr="A picture containing light&#10;&#10;Description automatically generated">
                <a:extLst>
                  <a:ext uri="{FF2B5EF4-FFF2-40B4-BE49-F238E27FC236}">
                    <a16:creationId xmlns:a16="http://schemas.microsoft.com/office/drawing/2014/main" id="{F73E6863-2B45-C844-AB2F-E83C0E94C8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1634" y="3917271"/>
                <a:ext cx="563432" cy="543810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4A37C81-FF9C-2D46-8E2D-D2B7A864B2FC}"/>
                </a:ext>
              </a:extLst>
            </p:cNvPr>
            <p:cNvSpPr txBox="1"/>
            <p:nvPr/>
          </p:nvSpPr>
          <p:spPr bwMode="auto">
            <a:xfrm>
              <a:off x="4348841" y="3478670"/>
              <a:ext cx="1435905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NAFLD</a:t>
              </a:r>
              <a:endPara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07522009-3FAA-2946-B183-919102B538AF}"/>
                </a:ext>
              </a:extLst>
            </p:cNvPr>
            <p:cNvCxnSpPr>
              <a:cxnSpLocks/>
              <a:stCxn id="6" idx="3"/>
            </p:cNvCxnSpPr>
            <p:nvPr/>
          </p:nvCxnSpPr>
          <p:spPr>
            <a:xfrm>
              <a:off x="3358054" y="2786956"/>
              <a:ext cx="905325" cy="644089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C304B32C-1D86-7F43-9948-88C6E91050D3}"/>
                </a:ext>
              </a:extLst>
            </p:cNvPr>
            <p:cNvCxnSpPr>
              <a:cxnSpLocks/>
              <a:stCxn id="7" idx="3"/>
              <a:endCxn id="11" idx="1"/>
            </p:cNvCxnSpPr>
            <p:nvPr/>
          </p:nvCxnSpPr>
          <p:spPr>
            <a:xfrm flipV="1">
              <a:off x="3358054" y="4099075"/>
              <a:ext cx="638803" cy="19597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54504EEF-6891-374B-9D3B-CDA3E97D2B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8054" y="4994613"/>
              <a:ext cx="638803" cy="666408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3C1F57B5-FED3-9C41-9626-EB260488FA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96994" y="2117838"/>
              <a:ext cx="1270163" cy="167893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FB17E87-BABB-234E-AEEB-7C481DD08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46315" y="4082530"/>
              <a:ext cx="2031842" cy="130439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61618672-E984-854B-B47E-A2D339E9A2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5981" y="2906931"/>
              <a:ext cx="817911" cy="594370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D8CB12AF-07C8-5049-A44A-2FA0577536C5}"/>
                </a:ext>
              </a:extLst>
            </p:cNvPr>
            <p:cNvCxnSpPr>
              <a:cxnSpLocks/>
            </p:cNvCxnSpPr>
            <p:nvPr/>
          </p:nvCxnSpPr>
          <p:spPr>
            <a:xfrm>
              <a:off x="6136732" y="3848724"/>
              <a:ext cx="727160" cy="650840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5886BB8-5D26-9A4A-AE12-E0D262B8DE6B}"/>
                </a:ext>
              </a:extLst>
            </p:cNvPr>
            <p:cNvSpPr txBox="1"/>
            <p:nvPr/>
          </p:nvSpPr>
          <p:spPr>
            <a:xfrm rot="19370435">
              <a:off x="5420781" y="2508642"/>
              <a:ext cx="1783892" cy="556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Prevention of CV diseas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0EDD289-1B15-F643-A8F5-8D9C412CD931}"/>
                </a:ext>
              </a:extLst>
            </p:cNvPr>
            <p:cNvSpPr txBox="1"/>
            <p:nvPr/>
          </p:nvSpPr>
          <p:spPr>
            <a:xfrm rot="2595192">
              <a:off x="5499459" y="4305223"/>
              <a:ext cx="1678612" cy="556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</a:rPr>
                <a:t>Prevention of cirrhosis</a:t>
              </a:r>
            </a:p>
          </p:txBody>
        </p:sp>
        <p:sp>
          <p:nvSpPr>
            <p:cNvPr id="40" name="Rectangle: Rounded Corners 40">
              <a:extLst>
                <a:ext uri="{FF2B5EF4-FFF2-40B4-BE49-F238E27FC236}">
                  <a16:creationId xmlns:a16="http://schemas.microsoft.com/office/drawing/2014/main" id="{2D25FB9F-4792-C741-95E2-39F0CB812037}"/>
                </a:ext>
              </a:extLst>
            </p:cNvPr>
            <p:cNvSpPr/>
            <p:nvPr/>
          </p:nvSpPr>
          <p:spPr bwMode="auto">
            <a:xfrm>
              <a:off x="7218774" y="5487327"/>
              <a:ext cx="2831602" cy="370705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Fibrosis Risk Stratification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B29689C0-7D56-8B43-8F7E-A81E8491B0C6}"/>
                </a:ext>
              </a:extLst>
            </p:cNvPr>
            <p:cNvCxnSpPr>
              <a:cxnSpLocks/>
            </p:cNvCxnSpPr>
            <p:nvPr/>
          </p:nvCxnSpPr>
          <p:spPr>
            <a:xfrm>
              <a:off x="6995495" y="5996413"/>
              <a:ext cx="3300498" cy="0"/>
            </a:xfrm>
            <a:prstGeom prst="line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683894F0-EA62-294D-9B2E-7CBA123F891F}"/>
                </a:ext>
              </a:extLst>
            </p:cNvPr>
            <p:cNvCxnSpPr>
              <a:cxnSpLocks/>
            </p:cNvCxnSpPr>
            <p:nvPr/>
          </p:nvCxnSpPr>
          <p:spPr>
            <a:xfrm>
              <a:off x="6995495" y="5996413"/>
              <a:ext cx="0" cy="274161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D0B28053-27BA-6B46-AD69-078672293F54}"/>
                </a:ext>
              </a:extLst>
            </p:cNvPr>
            <p:cNvCxnSpPr>
              <a:cxnSpLocks/>
              <a:stCxn id="40" idx="2"/>
            </p:cNvCxnSpPr>
            <p:nvPr/>
          </p:nvCxnSpPr>
          <p:spPr>
            <a:xfrm>
              <a:off x="8634575" y="5858032"/>
              <a:ext cx="0" cy="404510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0A137AAA-B8B1-2948-8C83-DCFAFB2593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80342" y="6010183"/>
              <a:ext cx="15651" cy="252359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tangle: Rounded Corners 45">
              <a:extLst>
                <a:ext uri="{FF2B5EF4-FFF2-40B4-BE49-F238E27FC236}">
                  <a16:creationId xmlns:a16="http://schemas.microsoft.com/office/drawing/2014/main" id="{88D96AC0-BCE3-3E49-B3FE-178D13DE48A8}"/>
                </a:ext>
              </a:extLst>
            </p:cNvPr>
            <p:cNvSpPr/>
            <p:nvPr/>
          </p:nvSpPr>
          <p:spPr bwMode="auto">
            <a:xfrm>
              <a:off x="6338765" y="6270574"/>
              <a:ext cx="1353153" cy="3551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Low risk</a:t>
              </a:r>
            </a:p>
          </p:txBody>
        </p:sp>
        <p:sp>
          <p:nvSpPr>
            <p:cNvPr id="56" name="Rectangle: Rounded Corners 46">
              <a:extLst>
                <a:ext uri="{FF2B5EF4-FFF2-40B4-BE49-F238E27FC236}">
                  <a16:creationId xmlns:a16="http://schemas.microsoft.com/office/drawing/2014/main" id="{080AA74E-18B6-EB43-93F7-57C5A8B2E897}"/>
                </a:ext>
              </a:extLst>
            </p:cNvPr>
            <p:cNvSpPr/>
            <p:nvPr/>
          </p:nvSpPr>
          <p:spPr bwMode="auto">
            <a:xfrm>
              <a:off x="7754585" y="6270574"/>
              <a:ext cx="1844348" cy="3480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Intermediate risk</a:t>
              </a:r>
            </a:p>
          </p:txBody>
        </p:sp>
        <p:sp>
          <p:nvSpPr>
            <p:cNvPr id="57" name="Rectangle: Rounded Corners 47">
              <a:extLst>
                <a:ext uri="{FF2B5EF4-FFF2-40B4-BE49-F238E27FC236}">
                  <a16:creationId xmlns:a16="http://schemas.microsoft.com/office/drawing/2014/main" id="{335E4022-AF01-2743-9B3F-FF6460602ACC}"/>
                </a:ext>
              </a:extLst>
            </p:cNvPr>
            <p:cNvSpPr/>
            <p:nvPr/>
          </p:nvSpPr>
          <p:spPr bwMode="auto">
            <a:xfrm>
              <a:off x="9619416" y="6285017"/>
              <a:ext cx="1353153" cy="31378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folHlink"/>
                </a:buClr>
                <a:buNone/>
              </a:pPr>
              <a:r>
                <a:rPr lang="en-US" sz="1200" b="0" dirty="0">
                  <a:latin typeface="Verdana" panose="020B0604030504040204" pitchFamily="34" charset="0"/>
                  <a:ea typeface="Verdana" panose="020B0604030504040204" pitchFamily="34" charset="0"/>
                </a:rPr>
                <a:t>High risk</a:t>
              </a: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C519AD40-F4EA-BC43-B827-CDACB29D68EC}"/>
                </a:ext>
              </a:extLst>
            </p:cNvPr>
            <p:cNvCxnSpPr>
              <a:endCxn id="40" idx="0"/>
            </p:cNvCxnSpPr>
            <p:nvPr/>
          </p:nvCxnSpPr>
          <p:spPr>
            <a:xfrm>
              <a:off x="8634575" y="4898730"/>
              <a:ext cx="0" cy="588597"/>
            </a:xfrm>
            <a:prstGeom prst="straightConnector1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CCC0F46C-86DC-D1B3-56B6-8727C8A6323B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Management algorithm for MAFLD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51B4AA3-7CC2-D03D-6409-E733FEA9B68D}"/>
              </a:ext>
            </a:extLst>
          </p:cNvPr>
          <p:cNvSpPr/>
          <p:nvPr/>
        </p:nvSpPr>
        <p:spPr>
          <a:xfrm>
            <a:off x="1503914" y="6390446"/>
            <a:ext cx="96899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ALT, alanine aminotransferase; AST, aspartate aminotransferase; CV, cardiovascular; IU, international units; MAFLD, metabolic-dysfunction associated fatty liver disease; NAFLD, non-alcoholic fatty liver disease; T2DM, Type 2 diabetes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mellitis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Cusi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 K, et al.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Endocr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Pract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. 2022;28:528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  <a:cs typeface="Beirut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67232198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C1C9AE2-0738-4F8A-ACA6-2F89BE169121}"/>
              </a:ext>
            </a:extLst>
          </p:cNvPr>
          <p:cNvSpPr txBox="1">
            <a:spLocks/>
          </p:cNvSpPr>
          <p:nvPr/>
        </p:nvSpPr>
        <p:spPr>
          <a:xfrm>
            <a:off x="529840" y="1844675"/>
            <a:ext cx="11146223" cy="36933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onsultant to pharmaceutical companies: KRKA, </a:t>
            </a:r>
            <a:r>
              <a:rPr lang="en-GB" dirty="0" err="1"/>
              <a:t>Vedra</a:t>
            </a:r>
            <a:r>
              <a:rPr lang="en-GB" dirty="0"/>
              <a:t> International, </a:t>
            </a:r>
            <a:r>
              <a:rPr lang="en-GB" dirty="0" err="1"/>
              <a:t>Alfasigma</a:t>
            </a:r>
            <a:r>
              <a:rPr lang="en-GB" dirty="0"/>
              <a:t>, Sanofi, Neola Pharma, Sun Wave Pharma, </a:t>
            </a:r>
            <a:r>
              <a:rPr lang="en-GB" dirty="0" err="1"/>
              <a:t>Biessen</a:t>
            </a:r>
            <a:r>
              <a:rPr lang="en-GB" dirty="0"/>
              <a:t> Pharma, Sun Pharma </a:t>
            </a:r>
            <a:r>
              <a:rPr lang="en-GB" dirty="0" err="1"/>
              <a:t>Terapia</a:t>
            </a:r>
            <a:endParaRPr lang="en-GB" dirty="0"/>
          </a:p>
          <a:p>
            <a:endParaRPr lang="en-GB" dirty="0"/>
          </a:p>
          <a:p>
            <a:r>
              <a:rPr lang="en-GB" dirty="0"/>
              <a:t>Member of advisory boards: Sanofi, Neola, Takeda</a:t>
            </a:r>
          </a:p>
          <a:p>
            <a:endParaRPr lang="en-GB" dirty="0"/>
          </a:p>
          <a:p>
            <a:r>
              <a:rPr lang="en-GB" dirty="0"/>
              <a:t>Lecturer for many pharmaceutical companies locally and internationally</a:t>
            </a:r>
          </a:p>
          <a:p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BB38CCF-5383-6D0F-1FD6-DA9D5A7816F8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Disclosures 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10451035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178B71-601A-4B1E-BA73-152E3B2E7F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72597-5FA9-473E-9DF2-B958DF9446F5}" type="slidenum">
              <a:rPr lang="fr-FR" smtClean="0">
                <a:solidFill>
                  <a:prstClr val="white"/>
                </a:solidFill>
              </a:rPr>
              <a:pPr/>
              <a:t>20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BFEB80-4ADC-4C69-BA42-BB2B3EA36B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51" y="209403"/>
            <a:ext cx="11362660" cy="824841"/>
          </a:xfrm>
        </p:spPr>
        <p:txBody>
          <a:bodyPr/>
          <a:lstStyle/>
          <a:p>
            <a:r>
              <a:rPr lang="en-GB" dirty="0"/>
              <a:t>EPL for MAFLD associated with metabolic syndrome: A systematic review and network meta-analysi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B13EFF-29CC-41AA-9340-47A67AB4BAC1}"/>
              </a:ext>
            </a:extLst>
          </p:cNvPr>
          <p:cNvSpPr/>
          <p:nvPr/>
        </p:nvSpPr>
        <p:spPr>
          <a:xfrm>
            <a:off x="620395" y="4637131"/>
            <a:ext cx="5185753" cy="760071"/>
          </a:xfrm>
          <a:prstGeom prst="rect">
            <a:avLst/>
          </a:prstGeom>
          <a:solidFill>
            <a:srgbClr val="FAD8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058476-6254-4570-90CE-136409D11752}"/>
              </a:ext>
            </a:extLst>
          </p:cNvPr>
          <p:cNvSpPr/>
          <p:nvPr/>
        </p:nvSpPr>
        <p:spPr>
          <a:xfrm>
            <a:off x="605538" y="3796101"/>
            <a:ext cx="5201307" cy="579600"/>
          </a:xfrm>
          <a:prstGeom prst="rect">
            <a:avLst/>
          </a:prstGeom>
          <a:solidFill>
            <a:srgbClr val="F7ED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423130-EF03-4BE7-95C5-20AD94F4686C}"/>
              </a:ext>
            </a:extLst>
          </p:cNvPr>
          <p:cNvSpPr/>
          <p:nvPr/>
        </p:nvSpPr>
        <p:spPr>
          <a:xfrm>
            <a:off x="598292" y="2950590"/>
            <a:ext cx="5201307" cy="578299"/>
          </a:xfrm>
          <a:prstGeom prst="rect">
            <a:avLst/>
          </a:prstGeom>
          <a:solidFill>
            <a:srgbClr val="FFF3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84F0237-1DBA-4A9C-B28B-291C254C148A}"/>
              </a:ext>
            </a:extLst>
          </p:cNvPr>
          <p:cNvSpPr txBox="1">
            <a:spLocks/>
          </p:cNvSpPr>
          <p:nvPr/>
        </p:nvSpPr>
        <p:spPr>
          <a:xfrm>
            <a:off x="530225" y="5719082"/>
            <a:ext cx="11158566" cy="333375"/>
          </a:xfrm>
          <a:prstGeom prst="rect">
            <a:avLst/>
          </a:prstGeom>
        </p:spPr>
        <p:txBody>
          <a:bodyPr anchor="b" anchorCtr="0"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1C66AA3-B4DE-47DA-BD97-897FC983C6A0}"/>
              </a:ext>
            </a:extLst>
          </p:cNvPr>
          <p:cNvGrpSpPr/>
          <p:nvPr/>
        </p:nvGrpSpPr>
        <p:grpSpPr>
          <a:xfrm>
            <a:off x="6088316" y="1495916"/>
            <a:ext cx="5627244" cy="3949379"/>
            <a:chOff x="6088316" y="1707920"/>
            <a:chExt cx="5627244" cy="394937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319B120-ECBF-4821-935B-B8D318835743}"/>
                </a:ext>
              </a:extLst>
            </p:cNvPr>
            <p:cNvSpPr/>
            <p:nvPr/>
          </p:nvSpPr>
          <p:spPr>
            <a:xfrm>
              <a:off x="6088316" y="4277643"/>
              <a:ext cx="5616000" cy="1362397"/>
            </a:xfrm>
            <a:prstGeom prst="rect">
              <a:avLst/>
            </a:prstGeom>
            <a:solidFill>
              <a:srgbClr val="FAD8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FF99FD-C6FC-45C4-82BB-A8A07512AEFD}"/>
                </a:ext>
              </a:extLst>
            </p:cNvPr>
            <p:cNvSpPr/>
            <p:nvPr/>
          </p:nvSpPr>
          <p:spPr>
            <a:xfrm>
              <a:off x="6088317" y="2942775"/>
              <a:ext cx="5616000" cy="1429515"/>
            </a:xfrm>
            <a:prstGeom prst="rect">
              <a:avLst/>
            </a:prstGeom>
            <a:solidFill>
              <a:srgbClr val="F7ED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1F4A57E-82B3-4484-8A1C-B4982E05D97F}"/>
                </a:ext>
              </a:extLst>
            </p:cNvPr>
            <p:cNvSpPr/>
            <p:nvPr/>
          </p:nvSpPr>
          <p:spPr>
            <a:xfrm>
              <a:off x="6088316" y="1707920"/>
              <a:ext cx="5616000" cy="1291713"/>
            </a:xfrm>
            <a:prstGeom prst="rect">
              <a:avLst/>
            </a:prstGeom>
            <a:solidFill>
              <a:srgbClr val="FFF3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FDBC3C5-29B5-4ED8-9521-370917EAE50F}"/>
                </a:ext>
              </a:extLst>
            </p:cNvPr>
            <p:cNvSpPr txBox="1"/>
            <p:nvPr/>
          </p:nvSpPr>
          <p:spPr>
            <a:xfrm>
              <a:off x="7852491" y="2637909"/>
              <a:ext cx="39783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2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796EED-F904-4B9F-B9D7-0FE54849CF87}"/>
                </a:ext>
              </a:extLst>
            </p:cNvPr>
            <p:cNvSpPr txBox="1"/>
            <p:nvPr/>
          </p:nvSpPr>
          <p:spPr>
            <a:xfrm>
              <a:off x="8235923" y="2640493"/>
              <a:ext cx="39783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5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FEAF6EF-3498-4B6A-92ED-5294AFB0C75D}"/>
                </a:ext>
              </a:extLst>
            </p:cNvPr>
            <p:cNvSpPr txBox="1"/>
            <p:nvPr/>
          </p:nvSpPr>
          <p:spPr>
            <a:xfrm>
              <a:off x="8604298" y="2636789"/>
              <a:ext cx="39783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7206808-6241-4B9A-B76A-598A70E583BA}"/>
                </a:ext>
              </a:extLst>
            </p:cNvPr>
            <p:cNvSpPr txBox="1"/>
            <p:nvPr/>
          </p:nvSpPr>
          <p:spPr>
            <a:xfrm>
              <a:off x="9014146" y="2640492"/>
              <a:ext cx="32900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5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82E8DC3-B306-482A-ACEA-3CDF266C7041}"/>
                </a:ext>
              </a:extLst>
            </p:cNvPr>
            <p:cNvSpPr txBox="1"/>
            <p:nvPr/>
          </p:nvSpPr>
          <p:spPr>
            <a:xfrm>
              <a:off x="9419432" y="2636789"/>
              <a:ext cx="26705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60705C1-8C43-4177-B0A6-5646A96F99BD}"/>
                </a:ext>
              </a:extLst>
            </p:cNvPr>
            <p:cNvSpPr txBox="1"/>
            <p:nvPr/>
          </p:nvSpPr>
          <p:spPr>
            <a:xfrm>
              <a:off x="9798350" y="2636789"/>
              <a:ext cx="26705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5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38ED018-6CCD-43FB-A1D2-45E93AE606C1}"/>
                </a:ext>
              </a:extLst>
            </p:cNvPr>
            <p:cNvCxnSpPr/>
            <p:nvPr/>
          </p:nvCxnSpPr>
          <p:spPr>
            <a:xfrm flipV="1">
              <a:off x="9553228" y="1871246"/>
              <a:ext cx="0" cy="790681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4DB9584-C0A8-4BAF-9494-834692DCACDB}"/>
                </a:ext>
              </a:extLst>
            </p:cNvPr>
            <p:cNvCxnSpPr/>
            <p:nvPr/>
          </p:nvCxnSpPr>
          <p:spPr>
            <a:xfrm>
              <a:off x="8040884" y="2637909"/>
              <a:ext cx="1879096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053DED3-3ECB-4A93-A2CB-502CDE783AE3}"/>
                </a:ext>
              </a:extLst>
            </p:cNvPr>
            <p:cNvCxnSpPr/>
            <p:nvPr/>
          </p:nvCxnSpPr>
          <p:spPr>
            <a:xfrm>
              <a:off x="8043987" y="2638652"/>
              <a:ext cx="0" cy="27909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0E07C41-D70D-41F4-A9D6-0503ADF36C88}"/>
                </a:ext>
              </a:extLst>
            </p:cNvPr>
            <p:cNvCxnSpPr/>
            <p:nvPr/>
          </p:nvCxnSpPr>
          <p:spPr>
            <a:xfrm>
              <a:off x="8424169" y="2640497"/>
              <a:ext cx="0" cy="27909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B90FDBE-138C-440E-B54C-A6DB47FE7497}"/>
                </a:ext>
              </a:extLst>
            </p:cNvPr>
            <p:cNvCxnSpPr/>
            <p:nvPr/>
          </p:nvCxnSpPr>
          <p:spPr>
            <a:xfrm>
              <a:off x="8795902" y="2640493"/>
              <a:ext cx="0" cy="27909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4ECD072-B548-430B-9FF8-919A7C2FC58E}"/>
                </a:ext>
              </a:extLst>
            </p:cNvPr>
            <p:cNvCxnSpPr/>
            <p:nvPr/>
          </p:nvCxnSpPr>
          <p:spPr>
            <a:xfrm>
              <a:off x="9181716" y="2638646"/>
              <a:ext cx="0" cy="27909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3D10C49-EC54-45D0-90B6-2F821A4CBE15}"/>
                </a:ext>
              </a:extLst>
            </p:cNvPr>
            <p:cNvCxnSpPr/>
            <p:nvPr/>
          </p:nvCxnSpPr>
          <p:spPr>
            <a:xfrm>
              <a:off x="9919551" y="2638645"/>
              <a:ext cx="0" cy="27909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921B632-86EA-442F-B1C1-36D9057D97A8}"/>
                </a:ext>
              </a:extLst>
            </p:cNvPr>
            <p:cNvCxnSpPr/>
            <p:nvPr/>
          </p:nvCxnSpPr>
          <p:spPr>
            <a:xfrm>
              <a:off x="9835065" y="2341425"/>
              <a:ext cx="0" cy="27909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D4CE049-2F71-4FB7-9505-C5CC1B2944D2}"/>
                </a:ext>
              </a:extLst>
            </p:cNvPr>
            <p:cNvCxnSpPr/>
            <p:nvPr/>
          </p:nvCxnSpPr>
          <p:spPr>
            <a:xfrm>
              <a:off x="8736752" y="2337729"/>
              <a:ext cx="0" cy="27909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C0162B5-8EAB-420E-BDD1-232A5BB8A38D}"/>
                </a:ext>
              </a:extLst>
            </p:cNvPr>
            <p:cNvCxnSpPr/>
            <p:nvPr/>
          </p:nvCxnSpPr>
          <p:spPr>
            <a:xfrm>
              <a:off x="9054980" y="2077430"/>
              <a:ext cx="0" cy="27909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3F58F690-CB4B-4864-BBBE-5E5306B6D576}"/>
                </a:ext>
              </a:extLst>
            </p:cNvPr>
            <p:cNvCxnSpPr/>
            <p:nvPr/>
          </p:nvCxnSpPr>
          <p:spPr>
            <a:xfrm>
              <a:off x="8474843" y="2210347"/>
              <a:ext cx="0" cy="27909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742402B-1F93-4854-9C7E-EB8086E6BD00}"/>
                </a:ext>
              </a:extLst>
            </p:cNvPr>
            <p:cNvCxnSpPr/>
            <p:nvPr/>
          </p:nvCxnSpPr>
          <p:spPr>
            <a:xfrm>
              <a:off x="8350929" y="2212194"/>
              <a:ext cx="0" cy="27909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AD377A24-590F-4D8B-BCA6-B75672E9A9F5}"/>
                </a:ext>
              </a:extLst>
            </p:cNvPr>
            <p:cNvCxnSpPr/>
            <p:nvPr/>
          </p:nvCxnSpPr>
          <p:spPr>
            <a:xfrm>
              <a:off x="8229834" y="2079276"/>
              <a:ext cx="0" cy="27909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C526AD8-37E4-41AF-8B48-C938D7F2CB0B}"/>
                </a:ext>
              </a:extLst>
            </p:cNvPr>
            <p:cNvCxnSpPr/>
            <p:nvPr/>
          </p:nvCxnSpPr>
          <p:spPr>
            <a:xfrm flipH="1">
              <a:off x="8229835" y="2092939"/>
              <a:ext cx="825143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226181A5-8828-4073-BF60-16641ED224D3}"/>
                </a:ext>
              </a:extLst>
            </p:cNvPr>
            <p:cNvCxnSpPr/>
            <p:nvPr/>
          </p:nvCxnSpPr>
          <p:spPr>
            <a:xfrm flipH="1">
              <a:off x="8350930" y="2224301"/>
              <a:ext cx="123913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7B20034-585A-4C39-855B-B99BACE19AA8}"/>
                </a:ext>
              </a:extLst>
            </p:cNvPr>
            <p:cNvCxnSpPr/>
            <p:nvPr/>
          </p:nvCxnSpPr>
          <p:spPr>
            <a:xfrm flipH="1">
              <a:off x="8736753" y="2351684"/>
              <a:ext cx="1098312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77DECCC-E8C1-4CFC-B757-31E3163F8FC2}"/>
                </a:ext>
              </a:extLst>
            </p:cNvPr>
            <p:cNvSpPr/>
            <p:nvPr/>
          </p:nvSpPr>
          <p:spPr>
            <a:xfrm>
              <a:off x="8615373" y="2072012"/>
              <a:ext cx="54069" cy="3544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A1AA3E5-E44B-4F32-B7AD-FF3F54ABD0BC}"/>
                </a:ext>
              </a:extLst>
            </p:cNvPr>
            <p:cNvSpPr/>
            <p:nvPr/>
          </p:nvSpPr>
          <p:spPr>
            <a:xfrm>
              <a:off x="8383976" y="2204733"/>
              <a:ext cx="66648" cy="436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36BBD90-9703-412D-8A0D-D71821F654C4}"/>
                </a:ext>
              </a:extLst>
            </p:cNvPr>
            <p:cNvSpPr/>
            <p:nvPr/>
          </p:nvSpPr>
          <p:spPr>
            <a:xfrm>
              <a:off x="9261032" y="2337226"/>
              <a:ext cx="42575" cy="2790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7" name="Flowchart: Decision 36">
              <a:extLst>
                <a:ext uri="{FF2B5EF4-FFF2-40B4-BE49-F238E27FC236}">
                  <a16:creationId xmlns:a16="http://schemas.microsoft.com/office/drawing/2014/main" id="{46DE17A6-B812-446B-B828-1BFE4535B6EE}"/>
                </a:ext>
              </a:extLst>
            </p:cNvPr>
            <p:cNvSpPr/>
            <p:nvPr/>
          </p:nvSpPr>
          <p:spPr>
            <a:xfrm>
              <a:off x="8227519" y="2533527"/>
              <a:ext cx="929685" cy="35444"/>
            </a:xfrm>
            <a:prstGeom prst="flowChartDecisi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C6314A8-9BC8-4EB4-B5FE-9A3C81A294C6}"/>
                </a:ext>
              </a:extLst>
            </p:cNvPr>
            <p:cNvSpPr txBox="1"/>
            <p:nvPr/>
          </p:nvSpPr>
          <p:spPr>
            <a:xfrm>
              <a:off x="8538574" y="2784050"/>
              <a:ext cx="121173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Mean differenc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09FA573-3F25-4264-8B2F-347F7556F2C3}"/>
                </a:ext>
              </a:extLst>
            </p:cNvPr>
            <p:cNvSpPr txBox="1"/>
            <p:nvPr/>
          </p:nvSpPr>
          <p:spPr>
            <a:xfrm>
              <a:off x="8738901" y="1737523"/>
              <a:ext cx="7488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ALT (U/I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14B7DC0-30A7-48E3-9AEB-749EB6FDEB47}"/>
                </a:ext>
              </a:extLst>
            </p:cNvPr>
            <p:cNvSpPr txBox="1"/>
            <p:nvPr/>
          </p:nvSpPr>
          <p:spPr>
            <a:xfrm>
              <a:off x="6380034" y="1811980"/>
              <a:ext cx="99492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Author (year)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1678AF1-8CB8-43EC-89B1-255B1174583A}"/>
                </a:ext>
              </a:extLst>
            </p:cNvPr>
            <p:cNvSpPr txBox="1"/>
            <p:nvPr/>
          </p:nvSpPr>
          <p:spPr>
            <a:xfrm>
              <a:off x="6380034" y="2012187"/>
              <a:ext cx="98460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Wu Y. (2009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2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C299C8-A120-4036-B56D-C1CC86220C06}"/>
                </a:ext>
              </a:extLst>
            </p:cNvPr>
            <p:cNvSpPr txBox="1"/>
            <p:nvPr/>
          </p:nvSpPr>
          <p:spPr>
            <a:xfrm>
              <a:off x="6380034" y="2143355"/>
              <a:ext cx="98288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Yin D. (2000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3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3B91208-D947-455F-AF3D-DD925DA64BC8}"/>
                </a:ext>
              </a:extLst>
            </p:cNvPr>
            <p:cNvSpPr txBox="1"/>
            <p:nvPr/>
          </p:nvSpPr>
          <p:spPr>
            <a:xfrm>
              <a:off x="6380034" y="2273633"/>
              <a:ext cx="85726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Li Z. (2013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4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418EC72-AB0F-4854-869B-C9DA8CFFC223}"/>
                </a:ext>
              </a:extLst>
            </p:cNvPr>
            <p:cNvSpPr txBox="1"/>
            <p:nvPr/>
          </p:nvSpPr>
          <p:spPr>
            <a:xfrm>
              <a:off x="6379870" y="2484226"/>
              <a:ext cx="16597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RE Model (Q=10.55, df=2, p=0.01, I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2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=81.0%)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FB5AD7F-58DC-418A-8F0D-31CAAFB8A603}"/>
                </a:ext>
              </a:extLst>
            </p:cNvPr>
            <p:cNvSpPr txBox="1"/>
            <p:nvPr/>
          </p:nvSpPr>
          <p:spPr>
            <a:xfrm>
              <a:off x="10187170" y="1811979"/>
              <a:ext cx="93298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MD (95% CI)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D37E521-9ADA-447F-9840-35051007A7D0}"/>
                </a:ext>
              </a:extLst>
            </p:cNvPr>
            <p:cNvSpPr txBox="1"/>
            <p:nvPr/>
          </p:nvSpPr>
          <p:spPr>
            <a:xfrm>
              <a:off x="10187170" y="2012186"/>
              <a:ext cx="144059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2.00 (–17.50; –6.50)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680AFB8-4A33-4B8C-AFB7-F7533D5F3452}"/>
                </a:ext>
              </a:extLst>
            </p:cNvPr>
            <p:cNvSpPr txBox="1"/>
            <p:nvPr/>
          </p:nvSpPr>
          <p:spPr>
            <a:xfrm>
              <a:off x="10187170" y="2143354"/>
              <a:ext cx="147500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5.36 ( –6.33; –14.39)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43D5589-40A9-4942-8286-02688AC7179B}"/>
                </a:ext>
              </a:extLst>
            </p:cNvPr>
            <p:cNvSpPr txBox="1"/>
            <p:nvPr/>
          </p:nvSpPr>
          <p:spPr>
            <a:xfrm>
              <a:off x="10187170" y="2273632"/>
              <a:ext cx="130981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3.84 (–11.17; 3.49)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9FE39A3-E22F-46C7-A1F2-399EA7CDB1B9}"/>
                </a:ext>
              </a:extLst>
            </p:cNvPr>
            <p:cNvSpPr txBox="1"/>
            <p:nvPr/>
          </p:nvSpPr>
          <p:spPr>
            <a:xfrm>
              <a:off x="10188530" y="2464656"/>
              <a:ext cx="14405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1.28 (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–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17.33; –5.23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p&lt;0.0003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72F1B4D-698A-4C5D-BDF1-BE754F7A258F}"/>
                </a:ext>
              </a:extLst>
            </p:cNvPr>
            <p:cNvSpPr txBox="1"/>
            <p:nvPr/>
          </p:nvSpPr>
          <p:spPr>
            <a:xfrm>
              <a:off x="6100697" y="1745147"/>
              <a:ext cx="3823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A63D16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A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62288CF-25FA-47AD-A763-B42F3DD3E380}"/>
                </a:ext>
              </a:extLst>
            </p:cNvPr>
            <p:cNvSpPr txBox="1"/>
            <p:nvPr/>
          </p:nvSpPr>
          <p:spPr>
            <a:xfrm>
              <a:off x="7818729" y="4015940"/>
              <a:ext cx="46666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50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E006635-3FF6-4AA0-A7AE-D1198F1B6062}"/>
                </a:ext>
              </a:extLst>
            </p:cNvPr>
            <p:cNvSpPr txBox="1"/>
            <p:nvPr/>
          </p:nvSpPr>
          <p:spPr>
            <a:xfrm>
              <a:off x="8452879" y="4014820"/>
              <a:ext cx="46666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0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A2D0BFC-0F67-4347-B495-5ACA3DB62649}"/>
                </a:ext>
              </a:extLst>
            </p:cNvPr>
            <p:cNvSpPr txBox="1"/>
            <p:nvPr/>
          </p:nvSpPr>
          <p:spPr>
            <a:xfrm>
              <a:off x="9111926" y="4018525"/>
              <a:ext cx="39783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50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016A057-406B-4D96-9F2B-84C2F9B37276}"/>
                </a:ext>
              </a:extLst>
            </p:cNvPr>
            <p:cNvSpPr txBox="1"/>
            <p:nvPr/>
          </p:nvSpPr>
          <p:spPr>
            <a:xfrm>
              <a:off x="9762111" y="4014820"/>
              <a:ext cx="26705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D1AA827B-782C-44BF-82E7-112D5C05D975}"/>
                </a:ext>
              </a:extLst>
            </p:cNvPr>
            <p:cNvSpPr txBox="1"/>
            <p:nvPr/>
          </p:nvSpPr>
          <p:spPr>
            <a:xfrm>
              <a:off x="8512588" y="4162308"/>
              <a:ext cx="121173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Mean difference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7FB8EA5-4687-47DA-AAE0-7E7479B82DDA}"/>
                </a:ext>
              </a:extLst>
            </p:cNvPr>
            <p:cNvCxnSpPr/>
            <p:nvPr/>
          </p:nvCxnSpPr>
          <p:spPr>
            <a:xfrm flipH="1" flipV="1">
              <a:off x="9878553" y="3103177"/>
              <a:ext cx="1534" cy="911643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958EA9B-A636-4C42-8489-59C160F95CC2}"/>
                </a:ext>
              </a:extLst>
            </p:cNvPr>
            <p:cNvCxnSpPr/>
            <p:nvPr/>
          </p:nvCxnSpPr>
          <p:spPr>
            <a:xfrm>
              <a:off x="8024473" y="4015940"/>
              <a:ext cx="1853641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81053584-4662-4773-B711-98095AC2D5E5}"/>
                </a:ext>
              </a:extLst>
            </p:cNvPr>
            <p:cNvCxnSpPr/>
            <p:nvPr/>
          </p:nvCxnSpPr>
          <p:spPr>
            <a:xfrm>
              <a:off x="8027535" y="4016684"/>
              <a:ext cx="0" cy="27928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21D1C17-7084-4679-A57B-CCB954694847}"/>
                </a:ext>
              </a:extLst>
            </p:cNvPr>
            <p:cNvCxnSpPr/>
            <p:nvPr/>
          </p:nvCxnSpPr>
          <p:spPr>
            <a:xfrm>
              <a:off x="8641888" y="4018526"/>
              <a:ext cx="0" cy="27928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6E26102F-1BB1-463F-9623-3BE7B65C558F}"/>
                </a:ext>
              </a:extLst>
            </p:cNvPr>
            <p:cNvCxnSpPr/>
            <p:nvPr/>
          </p:nvCxnSpPr>
          <p:spPr>
            <a:xfrm>
              <a:off x="9277226" y="4016679"/>
              <a:ext cx="0" cy="27928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561405E-8E1E-4FF0-B1B7-66446AFF0D03}"/>
                </a:ext>
              </a:extLst>
            </p:cNvPr>
            <p:cNvCxnSpPr/>
            <p:nvPr/>
          </p:nvCxnSpPr>
          <p:spPr>
            <a:xfrm>
              <a:off x="9881672" y="4016677"/>
              <a:ext cx="0" cy="27928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074EA693-6CCE-4967-BC43-F6575100B38E}"/>
                </a:ext>
              </a:extLst>
            </p:cNvPr>
            <p:cNvCxnSpPr/>
            <p:nvPr/>
          </p:nvCxnSpPr>
          <p:spPr>
            <a:xfrm>
              <a:off x="9539889" y="3305459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DB6B52E-5988-4D4A-967C-766EAA4D2F79}"/>
                </a:ext>
              </a:extLst>
            </p:cNvPr>
            <p:cNvCxnSpPr/>
            <p:nvPr/>
          </p:nvCxnSpPr>
          <p:spPr>
            <a:xfrm>
              <a:off x="9287901" y="3307307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CB5D055-22EF-4C7B-8B00-1E20A6D4E3D1}"/>
                </a:ext>
              </a:extLst>
            </p:cNvPr>
            <p:cNvCxnSpPr/>
            <p:nvPr/>
          </p:nvCxnSpPr>
          <p:spPr>
            <a:xfrm flipH="1">
              <a:off x="9287901" y="3320978"/>
              <a:ext cx="251988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029958BF-D23D-4819-AFFB-93EEA1F13D47}"/>
                </a:ext>
              </a:extLst>
            </p:cNvPr>
            <p:cNvCxnSpPr/>
            <p:nvPr/>
          </p:nvCxnSpPr>
          <p:spPr>
            <a:xfrm>
              <a:off x="9409965" y="3438180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2347ECF-EBFD-443C-99F7-B681BAACDCD8}"/>
                </a:ext>
              </a:extLst>
            </p:cNvPr>
            <p:cNvCxnSpPr/>
            <p:nvPr/>
          </p:nvCxnSpPr>
          <p:spPr>
            <a:xfrm>
              <a:off x="9157977" y="3440029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5CC6D4B-47B9-4996-A557-EF57DDAEA5D9}"/>
                </a:ext>
              </a:extLst>
            </p:cNvPr>
            <p:cNvCxnSpPr/>
            <p:nvPr/>
          </p:nvCxnSpPr>
          <p:spPr>
            <a:xfrm flipH="1">
              <a:off x="9157979" y="3452144"/>
              <a:ext cx="251986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6A0C7B0-0041-49F0-82BC-BCA5192ED261}"/>
                </a:ext>
              </a:extLst>
            </p:cNvPr>
            <p:cNvCxnSpPr/>
            <p:nvPr/>
          </p:nvCxnSpPr>
          <p:spPr>
            <a:xfrm>
              <a:off x="9312602" y="3573674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C56001D-F8E5-4304-A645-F3DD59F68644}"/>
                </a:ext>
              </a:extLst>
            </p:cNvPr>
            <p:cNvCxnSpPr/>
            <p:nvPr/>
          </p:nvCxnSpPr>
          <p:spPr>
            <a:xfrm>
              <a:off x="8640635" y="3569976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DA53746C-F50E-4570-B683-2B88C94D738A}"/>
                </a:ext>
              </a:extLst>
            </p:cNvPr>
            <p:cNvCxnSpPr/>
            <p:nvPr/>
          </p:nvCxnSpPr>
          <p:spPr>
            <a:xfrm flipH="1">
              <a:off x="8640636" y="3583940"/>
              <a:ext cx="671966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C626CDE-2A35-4870-A2C3-C5CE50C08B49}"/>
                </a:ext>
              </a:extLst>
            </p:cNvPr>
            <p:cNvSpPr/>
            <p:nvPr/>
          </p:nvSpPr>
          <p:spPr>
            <a:xfrm>
              <a:off x="9384046" y="3305367"/>
              <a:ext cx="53336" cy="354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855DA7C-0899-4447-B0EE-C01B160075E2}"/>
                </a:ext>
              </a:extLst>
            </p:cNvPr>
            <p:cNvSpPr/>
            <p:nvPr/>
          </p:nvSpPr>
          <p:spPr>
            <a:xfrm>
              <a:off x="9252285" y="3436805"/>
              <a:ext cx="65745" cy="437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8C57E4C-2F86-472C-B289-0236A2DACC7F}"/>
                </a:ext>
              </a:extLst>
            </p:cNvPr>
            <p:cNvSpPr/>
            <p:nvPr/>
          </p:nvSpPr>
          <p:spPr>
            <a:xfrm>
              <a:off x="8949461" y="3569472"/>
              <a:ext cx="41998" cy="279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4" name="Flowchart: Decision 73">
              <a:extLst>
                <a:ext uri="{FF2B5EF4-FFF2-40B4-BE49-F238E27FC236}">
                  <a16:creationId xmlns:a16="http://schemas.microsoft.com/office/drawing/2014/main" id="{4617AB05-D688-418D-88CE-066822C4BFE7}"/>
                </a:ext>
              </a:extLst>
            </p:cNvPr>
            <p:cNvSpPr/>
            <p:nvPr/>
          </p:nvSpPr>
          <p:spPr>
            <a:xfrm>
              <a:off x="9072060" y="3900597"/>
              <a:ext cx="365321" cy="35468"/>
            </a:xfrm>
            <a:prstGeom prst="flowChartDecisi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2C942A61-E27E-4289-9C19-5BBA2E927C2D}"/>
                </a:ext>
              </a:extLst>
            </p:cNvPr>
            <p:cNvSpPr txBox="1"/>
            <p:nvPr/>
          </p:nvSpPr>
          <p:spPr>
            <a:xfrm>
              <a:off x="6379867" y="3043870"/>
              <a:ext cx="99492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Author (year)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14938EF4-6D80-4E5D-8A3B-89186423B187}"/>
                </a:ext>
              </a:extLst>
            </p:cNvPr>
            <p:cNvSpPr txBox="1"/>
            <p:nvPr/>
          </p:nvSpPr>
          <p:spPr>
            <a:xfrm>
              <a:off x="6379867" y="3244213"/>
              <a:ext cx="103106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Sun C. (2008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5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328F62BA-6759-490B-B264-C318B4B9D7B9}"/>
                </a:ext>
              </a:extLst>
            </p:cNvPr>
            <p:cNvSpPr txBox="1"/>
            <p:nvPr/>
          </p:nvSpPr>
          <p:spPr>
            <a:xfrm>
              <a:off x="6379867" y="3375472"/>
              <a:ext cx="98460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Wu Y. (2009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2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6A454A1-36B8-43D9-BB9F-A8ACF6D0A8E1}"/>
                </a:ext>
              </a:extLst>
            </p:cNvPr>
            <p:cNvSpPr txBox="1"/>
            <p:nvPr/>
          </p:nvSpPr>
          <p:spPr>
            <a:xfrm>
              <a:off x="6379867" y="3505838"/>
              <a:ext cx="98288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Yin D. (2000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3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04511D7-FBF0-4DD9-A5CE-180738647E05}"/>
                </a:ext>
              </a:extLst>
            </p:cNvPr>
            <p:cNvSpPr txBox="1"/>
            <p:nvPr/>
          </p:nvSpPr>
          <p:spPr>
            <a:xfrm>
              <a:off x="6379868" y="3862513"/>
              <a:ext cx="15826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RE Model (Q=7.69, df=3, p=0.05, I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2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=61.0%)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03C2C17-F6D4-4248-A2D2-7AE9C10537CD}"/>
                </a:ext>
              </a:extLst>
            </p:cNvPr>
            <p:cNvSpPr txBox="1"/>
            <p:nvPr/>
          </p:nvSpPr>
          <p:spPr>
            <a:xfrm>
              <a:off x="10129744" y="3043868"/>
              <a:ext cx="93298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MD (95% CI)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8DC60F6-43DE-4E0A-B56E-1A88536E2271}"/>
                </a:ext>
              </a:extLst>
            </p:cNvPr>
            <p:cNvSpPr txBox="1"/>
            <p:nvPr/>
          </p:nvSpPr>
          <p:spPr>
            <a:xfrm>
              <a:off x="10129744" y="3244212"/>
              <a:ext cx="15094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33.63 (–46.94; –20.32)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035870C-459E-4E5A-BA20-C90C77E3A9E3}"/>
                </a:ext>
              </a:extLst>
            </p:cNvPr>
            <p:cNvSpPr txBox="1"/>
            <p:nvPr/>
          </p:nvSpPr>
          <p:spPr>
            <a:xfrm>
              <a:off x="10129744" y="3375469"/>
              <a:ext cx="15094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46.90 (–60.30; –33.50)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FA73D0D2-FE79-47A1-A48D-62A88CDB7B14}"/>
                </a:ext>
              </a:extLst>
            </p:cNvPr>
            <p:cNvSpPr txBox="1"/>
            <p:nvPr/>
          </p:nvSpPr>
          <p:spPr>
            <a:xfrm>
              <a:off x="10129744" y="3505836"/>
              <a:ext cx="157825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73.45 (–101.66; –45.24)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7F123E6-B951-4D5D-8C5B-AD16CF810FD9}"/>
                </a:ext>
              </a:extLst>
            </p:cNvPr>
            <p:cNvSpPr txBox="1"/>
            <p:nvPr/>
          </p:nvSpPr>
          <p:spPr>
            <a:xfrm>
              <a:off x="10131084" y="3837384"/>
              <a:ext cx="15094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49.29 (–66.38; –32.20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p&lt;0.0001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C26F5656-3337-4668-97EC-427AD731A778}"/>
                </a:ext>
              </a:extLst>
            </p:cNvPr>
            <p:cNvSpPr txBox="1"/>
            <p:nvPr/>
          </p:nvSpPr>
          <p:spPr>
            <a:xfrm>
              <a:off x="6120486" y="2978832"/>
              <a:ext cx="3427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A63D16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B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861CB49B-F432-4902-B6D4-FA69DFB68A4C}"/>
                </a:ext>
              </a:extLst>
            </p:cNvPr>
            <p:cNvSpPr txBox="1"/>
            <p:nvPr/>
          </p:nvSpPr>
          <p:spPr>
            <a:xfrm>
              <a:off x="8652865" y="2989209"/>
              <a:ext cx="9209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TG (mg/dl)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0A6582DA-B871-4427-B466-98A1A61931B1}"/>
                </a:ext>
              </a:extLst>
            </p:cNvPr>
            <p:cNvCxnSpPr/>
            <p:nvPr/>
          </p:nvCxnSpPr>
          <p:spPr>
            <a:xfrm>
              <a:off x="9776057" y="3706679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645579C5-64A4-45F9-AA42-0E015EE3A349}"/>
                </a:ext>
              </a:extLst>
            </p:cNvPr>
            <p:cNvCxnSpPr/>
            <p:nvPr/>
          </p:nvCxnSpPr>
          <p:spPr>
            <a:xfrm>
              <a:off x="8096137" y="3702981"/>
              <a:ext cx="0" cy="27928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FE47312E-EED7-4448-8979-1ECFE65825BE}"/>
                </a:ext>
              </a:extLst>
            </p:cNvPr>
            <p:cNvCxnSpPr/>
            <p:nvPr/>
          </p:nvCxnSpPr>
          <p:spPr>
            <a:xfrm flipH="1">
              <a:off x="8096139" y="3716944"/>
              <a:ext cx="1679916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6E16285-058E-4F7C-A973-22FDB97C88F9}"/>
                </a:ext>
              </a:extLst>
            </p:cNvPr>
            <p:cNvSpPr txBox="1"/>
            <p:nvPr/>
          </p:nvSpPr>
          <p:spPr>
            <a:xfrm>
              <a:off x="10126222" y="3659698"/>
              <a:ext cx="157825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77.88 (–144.66; –11.09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9A5E13B-F0FB-4FE6-B3A5-18E1BA648570}"/>
                </a:ext>
              </a:extLst>
            </p:cNvPr>
            <p:cNvSpPr txBox="1"/>
            <p:nvPr/>
          </p:nvSpPr>
          <p:spPr>
            <a:xfrm>
              <a:off x="6379867" y="3641245"/>
              <a:ext cx="85726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Li Z. (2013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4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947B1A8F-3052-445C-A7FE-8047FE985AE5}"/>
                </a:ext>
              </a:extLst>
            </p:cNvPr>
            <p:cNvSpPr/>
            <p:nvPr/>
          </p:nvSpPr>
          <p:spPr>
            <a:xfrm>
              <a:off x="8910566" y="3704326"/>
              <a:ext cx="41998" cy="279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4BF6DD0-957D-4A7F-88F7-1CFE02E64110}"/>
                </a:ext>
              </a:extLst>
            </p:cNvPr>
            <p:cNvSpPr txBox="1"/>
            <p:nvPr/>
          </p:nvSpPr>
          <p:spPr>
            <a:xfrm>
              <a:off x="7893100" y="5250487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40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5E10005-8CD5-422F-8638-987AE7B56D0F}"/>
                </a:ext>
              </a:extLst>
            </p:cNvPr>
            <p:cNvSpPr txBox="1"/>
            <p:nvPr/>
          </p:nvSpPr>
          <p:spPr>
            <a:xfrm>
              <a:off x="8220435" y="5253043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35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C244810F-DDCC-4629-B12D-37FB20C3859A}"/>
                </a:ext>
              </a:extLst>
            </p:cNvPr>
            <p:cNvSpPr txBox="1"/>
            <p:nvPr/>
          </p:nvSpPr>
          <p:spPr>
            <a:xfrm>
              <a:off x="8529376" y="5249379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30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B6419A6-276A-4D66-8365-C980A18FACC7}"/>
                </a:ext>
              </a:extLst>
            </p:cNvPr>
            <p:cNvSpPr txBox="1"/>
            <p:nvPr/>
          </p:nvSpPr>
          <p:spPr>
            <a:xfrm>
              <a:off x="8847985" y="5253043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25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0F79B2B-4DD5-4C09-A861-79C95438D099}"/>
                </a:ext>
              </a:extLst>
            </p:cNvPr>
            <p:cNvSpPr txBox="1"/>
            <p:nvPr/>
          </p:nvSpPr>
          <p:spPr>
            <a:xfrm>
              <a:off x="9462047" y="5249379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5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59A6F2A5-29B3-4419-9546-807B7E3B438E}"/>
                </a:ext>
              </a:extLst>
            </p:cNvPr>
            <p:cNvSpPr txBox="1"/>
            <p:nvPr/>
          </p:nvSpPr>
          <p:spPr>
            <a:xfrm>
              <a:off x="9757013" y="5249379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10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2B64770-A3E4-4892-9711-BF94CF841DC6}"/>
                </a:ext>
              </a:extLst>
            </p:cNvPr>
            <p:cNvSpPr txBox="1"/>
            <p:nvPr/>
          </p:nvSpPr>
          <p:spPr>
            <a:xfrm>
              <a:off x="9152007" y="5255704"/>
              <a:ext cx="397832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20</a:t>
              </a: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EDF2B53B-09F7-4F77-8823-0861859AC25E}"/>
                </a:ext>
              </a:extLst>
            </p:cNvPr>
            <p:cNvCxnSpPr/>
            <p:nvPr/>
          </p:nvCxnSpPr>
          <p:spPr>
            <a:xfrm flipV="1">
              <a:off x="10042632" y="4492104"/>
              <a:ext cx="0" cy="757276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DAE28A-0726-45AA-819C-FEA27D3F38E1}"/>
                </a:ext>
              </a:extLst>
            </p:cNvPr>
            <p:cNvCxnSpPr/>
            <p:nvPr/>
          </p:nvCxnSpPr>
          <p:spPr>
            <a:xfrm>
              <a:off x="8079634" y="5250487"/>
              <a:ext cx="1860594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1CF5744-6DCF-4EC5-8C11-9A83ED5C204B}"/>
                </a:ext>
              </a:extLst>
            </p:cNvPr>
            <p:cNvCxnSpPr/>
            <p:nvPr/>
          </p:nvCxnSpPr>
          <p:spPr>
            <a:xfrm>
              <a:off x="8082712" y="5251222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F8464044-8EAF-4CC4-8FFD-5A19A97F8BF4}"/>
                </a:ext>
              </a:extLst>
            </p:cNvPr>
            <p:cNvCxnSpPr/>
            <p:nvPr/>
          </p:nvCxnSpPr>
          <p:spPr>
            <a:xfrm>
              <a:off x="8406827" y="5253046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4BE310D5-C2F3-45F7-BA3F-28F9D1A24D7B}"/>
                </a:ext>
              </a:extLst>
            </p:cNvPr>
            <p:cNvCxnSpPr/>
            <p:nvPr/>
          </p:nvCxnSpPr>
          <p:spPr>
            <a:xfrm>
              <a:off x="8719093" y="5253043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BDA194A9-6D95-4884-94B5-412521197954}"/>
                </a:ext>
              </a:extLst>
            </p:cNvPr>
            <p:cNvCxnSpPr/>
            <p:nvPr/>
          </p:nvCxnSpPr>
          <p:spPr>
            <a:xfrm>
              <a:off x="9024371" y="5251217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F4C491B-53DD-4FBC-A2F4-ADB4E95AA390}"/>
                </a:ext>
              </a:extLst>
            </p:cNvPr>
            <p:cNvCxnSpPr/>
            <p:nvPr/>
          </p:nvCxnSpPr>
          <p:spPr>
            <a:xfrm>
              <a:off x="9939807" y="5251215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B9077C1-E9B8-4C46-9B44-70CADEA3A39B}"/>
                </a:ext>
              </a:extLst>
            </p:cNvPr>
            <p:cNvSpPr txBox="1"/>
            <p:nvPr/>
          </p:nvSpPr>
          <p:spPr>
            <a:xfrm>
              <a:off x="8572778" y="5426468"/>
              <a:ext cx="1211737" cy="230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Mean difference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912FF8B-15A0-4830-94EF-6F4EF06EB0CE}"/>
                </a:ext>
              </a:extLst>
            </p:cNvPr>
            <p:cNvSpPr txBox="1"/>
            <p:nvPr/>
          </p:nvSpPr>
          <p:spPr>
            <a:xfrm>
              <a:off x="8363784" y="4380240"/>
              <a:ext cx="14990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Cholesterol (mg/dl)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A27AC5B3-5C00-4CC4-80B1-F6ADF5BE7E6E}"/>
                </a:ext>
              </a:extLst>
            </p:cNvPr>
            <p:cNvSpPr txBox="1"/>
            <p:nvPr/>
          </p:nvSpPr>
          <p:spPr>
            <a:xfrm>
              <a:off x="6437955" y="4433478"/>
              <a:ext cx="99492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Author (year)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D547F8D0-007C-462C-B44E-369D15D64D50}"/>
                </a:ext>
              </a:extLst>
            </p:cNvPr>
            <p:cNvSpPr txBox="1"/>
            <p:nvPr/>
          </p:nvSpPr>
          <p:spPr>
            <a:xfrm>
              <a:off x="6437955" y="4631523"/>
              <a:ext cx="103106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Sun C. (2008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5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BB3B1A2-E504-4EE0-9398-AF43B20F6834}"/>
                </a:ext>
              </a:extLst>
            </p:cNvPr>
            <p:cNvSpPr txBox="1"/>
            <p:nvPr/>
          </p:nvSpPr>
          <p:spPr>
            <a:xfrm>
              <a:off x="6437955" y="4761275"/>
              <a:ext cx="98460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Wu Y. (2009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2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E8DABCF1-410E-4614-AF73-7D08D2F25391}"/>
                </a:ext>
              </a:extLst>
            </p:cNvPr>
            <p:cNvSpPr txBox="1"/>
            <p:nvPr/>
          </p:nvSpPr>
          <p:spPr>
            <a:xfrm>
              <a:off x="6437955" y="4890145"/>
              <a:ext cx="98288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Yin D. (2000)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3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F5AA77E-594F-4BA9-8640-130AAABC7350}"/>
                </a:ext>
              </a:extLst>
            </p:cNvPr>
            <p:cNvSpPr txBox="1"/>
            <p:nvPr/>
          </p:nvSpPr>
          <p:spPr>
            <a:xfrm>
              <a:off x="6437955" y="5098464"/>
              <a:ext cx="15458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RE Model (Q=6.40, df=2, p=0.04, I</a:t>
              </a:r>
              <a:r>
                <a:rPr kumimoji="0" lang="en-GB" sz="9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2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=68.8%)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C1AC22F8-7FE1-4D84-B0C9-1584E6E6EE36}"/>
                </a:ext>
              </a:extLst>
            </p:cNvPr>
            <p:cNvSpPr txBox="1"/>
            <p:nvPr/>
          </p:nvSpPr>
          <p:spPr>
            <a:xfrm>
              <a:off x="10204791" y="4433476"/>
              <a:ext cx="93298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MD (95% CI)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5A740C4-3B27-4DED-A904-3058D10F30D2}"/>
                </a:ext>
              </a:extLst>
            </p:cNvPr>
            <p:cNvSpPr txBox="1"/>
            <p:nvPr/>
          </p:nvSpPr>
          <p:spPr>
            <a:xfrm>
              <a:off x="10204791" y="4631521"/>
              <a:ext cx="15094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23.20 (–34.22; –12.19)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551A226-3500-4874-A0FA-8679593CE689}"/>
                </a:ext>
              </a:extLst>
            </p:cNvPr>
            <p:cNvSpPr txBox="1"/>
            <p:nvPr/>
          </p:nvSpPr>
          <p:spPr>
            <a:xfrm>
              <a:off x="10204791" y="4761273"/>
              <a:ext cx="15094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35.58 (–39.31; –31.84)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F30FEB7-3669-4ED3-96F0-4D9D1C7F0521}"/>
                </a:ext>
              </a:extLst>
            </p:cNvPr>
            <p:cNvSpPr txBox="1"/>
            <p:nvPr/>
          </p:nvSpPr>
          <p:spPr>
            <a:xfrm>
              <a:off x="10204791" y="4890144"/>
              <a:ext cx="15094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26.68 (–36.49; –16.87)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3E322FD-460F-4A22-97D8-B574D4960B17}"/>
                </a:ext>
              </a:extLst>
            </p:cNvPr>
            <p:cNvSpPr txBox="1"/>
            <p:nvPr/>
          </p:nvSpPr>
          <p:spPr>
            <a:xfrm>
              <a:off x="10206137" y="5079103"/>
              <a:ext cx="15094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–29.74 (–36.02; –21.45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p&lt;0.0001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CADDD8E-05E8-4BB7-8BF3-1D34A8A08918}"/>
                </a:ext>
              </a:extLst>
            </p:cNvPr>
            <p:cNvSpPr txBox="1"/>
            <p:nvPr/>
          </p:nvSpPr>
          <p:spPr>
            <a:xfrm>
              <a:off x="6096396" y="4372870"/>
              <a:ext cx="3909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A63D16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Calibri" panose="020F0502020204030204" pitchFamily="34" charset="0"/>
                </a:rPr>
                <a:t>C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F80E0DA1-B0EF-4A7B-89DF-EC7D8047A563}"/>
                </a:ext>
              </a:extLst>
            </p:cNvPr>
            <p:cNvCxnSpPr/>
            <p:nvPr/>
          </p:nvCxnSpPr>
          <p:spPr>
            <a:xfrm>
              <a:off x="9335370" y="5253879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1C9DEC3B-ACFA-4AAF-A50D-32F1795EE75F}"/>
                </a:ext>
              </a:extLst>
            </p:cNvPr>
            <p:cNvCxnSpPr/>
            <p:nvPr/>
          </p:nvCxnSpPr>
          <p:spPr>
            <a:xfrm>
              <a:off x="9643917" y="5251589"/>
              <a:ext cx="0" cy="27607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B406B4D-B861-4857-87AC-676680B330BE}"/>
                </a:ext>
              </a:extLst>
            </p:cNvPr>
            <p:cNvCxnSpPr/>
            <p:nvPr/>
          </p:nvCxnSpPr>
          <p:spPr>
            <a:xfrm>
              <a:off x="9804054" y="4696061"/>
              <a:ext cx="0" cy="27607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CB99E2BE-9229-4DE5-A3B2-A8E39F54F045}"/>
                </a:ext>
              </a:extLst>
            </p:cNvPr>
            <p:cNvCxnSpPr/>
            <p:nvPr/>
          </p:nvCxnSpPr>
          <p:spPr>
            <a:xfrm>
              <a:off x="8455079" y="4697887"/>
              <a:ext cx="0" cy="27607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2CD66DCA-90ED-493D-94BF-848D0876B9BD}"/>
                </a:ext>
              </a:extLst>
            </p:cNvPr>
            <p:cNvCxnSpPr/>
            <p:nvPr/>
          </p:nvCxnSpPr>
          <p:spPr>
            <a:xfrm flipH="1">
              <a:off x="8455081" y="4711402"/>
              <a:ext cx="1348973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C6DFE12A-A721-4558-8027-0718E85A55B7}"/>
                </a:ext>
              </a:extLst>
            </p:cNvPr>
            <p:cNvCxnSpPr/>
            <p:nvPr/>
          </p:nvCxnSpPr>
          <p:spPr>
            <a:xfrm>
              <a:off x="8662598" y="4822974"/>
              <a:ext cx="0" cy="27607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CA2CBD49-A8A8-427A-838D-D8BC6996710B}"/>
                </a:ext>
              </a:extLst>
            </p:cNvPr>
            <p:cNvCxnSpPr/>
            <p:nvPr/>
          </p:nvCxnSpPr>
          <p:spPr>
            <a:xfrm>
              <a:off x="8114576" y="4824801"/>
              <a:ext cx="0" cy="27607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B40FCEED-9E4D-4BE4-B945-32A3B8FC0B22}"/>
                </a:ext>
              </a:extLst>
            </p:cNvPr>
            <p:cNvCxnSpPr/>
            <p:nvPr/>
          </p:nvCxnSpPr>
          <p:spPr>
            <a:xfrm flipH="1">
              <a:off x="8114581" y="4836778"/>
              <a:ext cx="548017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D8C5A8D-F066-46E4-B322-5136F7DC2417}"/>
                </a:ext>
              </a:extLst>
            </p:cNvPr>
            <p:cNvCxnSpPr/>
            <p:nvPr/>
          </p:nvCxnSpPr>
          <p:spPr>
            <a:xfrm>
              <a:off x="9548196" y="4957205"/>
              <a:ext cx="0" cy="27607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79072CDA-798B-46CE-96EB-9B24FA3FE4A5}"/>
                </a:ext>
              </a:extLst>
            </p:cNvPr>
            <p:cNvCxnSpPr/>
            <p:nvPr/>
          </p:nvCxnSpPr>
          <p:spPr>
            <a:xfrm>
              <a:off x="8325687" y="4953549"/>
              <a:ext cx="0" cy="27607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0EE1EC4-CA82-4645-B2B4-0F29120C0325}"/>
                </a:ext>
              </a:extLst>
            </p:cNvPr>
            <p:cNvCxnSpPr/>
            <p:nvPr/>
          </p:nvCxnSpPr>
          <p:spPr>
            <a:xfrm flipH="1">
              <a:off x="8325688" y="4967352"/>
              <a:ext cx="1222508" cy="0"/>
            </a:xfrm>
            <a:prstGeom prst="line">
              <a:avLst/>
            </a:prstGeom>
            <a:ln w="1270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AE60FA0C-56B6-465A-A5E4-A6919ADF821A}"/>
                </a:ext>
              </a:extLst>
            </p:cNvPr>
            <p:cNvSpPr/>
            <p:nvPr/>
          </p:nvSpPr>
          <p:spPr>
            <a:xfrm>
              <a:off x="9105369" y="4690702"/>
              <a:ext cx="53537" cy="3506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69E42503-58B7-450E-9780-5A3B84CDBAED}"/>
                </a:ext>
              </a:extLst>
            </p:cNvPr>
            <p:cNvSpPr/>
            <p:nvPr/>
          </p:nvSpPr>
          <p:spPr>
            <a:xfrm>
              <a:off x="8360057" y="4817420"/>
              <a:ext cx="65991" cy="432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26823A2F-C044-4591-B976-FEF47A09D030}"/>
                </a:ext>
              </a:extLst>
            </p:cNvPr>
            <p:cNvSpPr/>
            <p:nvPr/>
          </p:nvSpPr>
          <p:spPr>
            <a:xfrm>
              <a:off x="8914575" y="4953051"/>
              <a:ext cx="42156" cy="2760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34" name="Flowchart: Decision 133">
              <a:extLst>
                <a:ext uri="{FF2B5EF4-FFF2-40B4-BE49-F238E27FC236}">
                  <a16:creationId xmlns:a16="http://schemas.microsoft.com/office/drawing/2014/main" id="{A381C9DB-8941-48DA-A3AF-3876BF8C29E3}"/>
                </a:ext>
              </a:extLst>
            </p:cNvPr>
            <p:cNvSpPr/>
            <p:nvPr/>
          </p:nvSpPr>
          <p:spPr>
            <a:xfrm>
              <a:off x="8264435" y="5147232"/>
              <a:ext cx="920531" cy="35061"/>
            </a:xfrm>
            <a:prstGeom prst="flowChartDecisi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6362570-94DB-4941-B65E-37CEE202652F}"/>
              </a:ext>
            </a:extLst>
          </p:cNvPr>
          <p:cNvSpPr txBox="1">
            <a:spLocks/>
          </p:cNvSpPr>
          <p:nvPr/>
        </p:nvSpPr>
        <p:spPr>
          <a:xfrm>
            <a:off x="645600" y="1656045"/>
            <a:ext cx="5264738" cy="3856988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2400"/>
              </a:spcAft>
              <a:buFont typeface="Calibri" panose="020F0502020204030204" pitchFamily="34" charset="0"/>
              <a:buNone/>
            </a:pPr>
            <a:r>
              <a:rPr lang="en-US" sz="1800" b="1" dirty="0"/>
              <a:t>Results of a direct meta-analysis of RCTs comparing the effect of treatment with EPL + AD vs AD therapy alone</a:t>
            </a:r>
            <a:r>
              <a:rPr lang="en-US" sz="1800" b="1" baseline="30000" dirty="0"/>
              <a:t>1</a:t>
            </a:r>
            <a:r>
              <a:rPr lang="en-US" sz="1800" b="1" dirty="0"/>
              <a:t>:</a:t>
            </a:r>
            <a:endParaRPr lang="en-US" sz="1800" b="1" strike="sngStrike" dirty="0">
              <a:solidFill>
                <a:srgbClr val="FF0000"/>
              </a:solidFill>
            </a:endParaRPr>
          </a:p>
          <a:p>
            <a:pPr marL="273050" lvl="1" indent="-273050">
              <a:spcAft>
                <a:spcPts val="2400"/>
              </a:spcAft>
              <a:buFont typeface="Calibri" panose="020F0502020204030204" pitchFamily="34" charset="0"/>
              <a:buNone/>
            </a:pPr>
            <a:r>
              <a:rPr lang="en-US" sz="1600" b="1" dirty="0">
                <a:solidFill>
                  <a:srgbClr val="B15218"/>
                </a:solidFill>
              </a:rPr>
              <a:t>A</a:t>
            </a:r>
            <a:r>
              <a:rPr lang="en-US" sz="1600" dirty="0">
                <a:solidFill>
                  <a:srgbClr val="B15218"/>
                </a:solidFill>
              </a:rPr>
              <a:t>: </a:t>
            </a:r>
            <a:r>
              <a:rPr lang="en-US" sz="1600" dirty="0"/>
              <a:t>Change in ALT: three studies</a:t>
            </a:r>
            <a:r>
              <a:rPr lang="en-US" sz="1600" baseline="30000" dirty="0"/>
              <a:t>2–4</a:t>
            </a:r>
            <a:r>
              <a:rPr lang="en-US" sz="1600" dirty="0"/>
              <a:t> (N=371); mean treatment duration, 1.97 months</a:t>
            </a:r>
          </a:p>
          <a:p>
            <a:pPr marL="273050" lvl="1" indent="-273050">
              <a:spcAft>
                <a:spcPts val="2400"/>
              </a:spcAft>
              <a:buFont typeface="Calibri" panose="020F0502020204030204" pitchFamily="34" charset="0"/>
              <a:buNone/>
            </a:pPr>
            <a:r>
              <a:rPr lang="en-US" sz="1600" b="1" dirty="0">
                <a:solidFill>
                  <a:srgbClr val="B15218"/>
                </a:solidFill>
              </a:rPr>
              <a:t>B</a:t>
            </a:r>
            <a:r>
              <a:rPr lang="en-US" sz="1600" dirty="0">
                <a:solidFill>
                  <a:srgbClr val="B15218"/>
                </a:solidFill>
              </a:rPr>
              <a:t>: </a:t>
            </a:r>
            <a:r>
              <a:rPr lang="en-US" sz="1600" dirty="0"/>
              <a:t>Change in TG levels: four studies</a:t>
            </a:r>
            <a:r>
              <a:rPr lang="en-US" sz="1600" baseline="30000" dirty="0"/>
              <a:t>2–5</a:t>
            </a:r>
            <a:r>
              <a:rPr lang="en-US" sz="1600" dirty="0"/>
              <a:t> (N=445); mean treatment duration, 2.1 months </a:t>
            </a:r>
          </a:p>
          <a:p>
            <a:pPr marL="273050" lvl="1" indent="-273050">
              <a:spcAft>
                <a:spcPts val="2400"/>
              </a:spcAft>
              <a:buFont typeface="Calibri" panose="020F0502020204030204" pitchFamily="34" charset="0"/>
              <a:buNone/>
            </a:pPr>
            <a:r>
              <a:rPr lang="en-US" sz="1600" b="1" dirty="0">
                <a:solidFill>
                  <a:srgbClr val="B15218"/>
                </a:solidFill>
              </a:rPr>
              <a:t>C</a:t>
            </a:r>
            <a:r>
              <a:rPr lang="en-US" sz="1600" dirty="0">
                <a:solidFill>
                  <a:srgbClr val="B15218"/>
                </a:solidFill>
              </a:rPr>
              <a:t>: </a:t>
            </a:r>
            <a:r>
              <a:rPr lang="en-US" sz="1600" dirty="0"/>
              <a:t>Change in total cholesterol levels: three studies</a:t>
            </a:r>
            <a:r>
              <a:rPr lang="en-US" sz="1600" baseline="30000" dirty="0"/>
              <a:t>2,3,5</a:t>
            </a:r>
            <a:r>
              <a:rPr lang="en-US" sz="1600" dirty="0"/>
              <a:t> (N=359); mean treatment duration, 2.27 months</a:t>
            </a:r>
          </a:p>
          <a:p>
            <a:pPr>
              <a:spcAft>
                <a:spcPts val="2400"/>
              </a:spcAft>
            </a:pPr>
            <a:endParaRPr lang="en-GB" sz="1800" dirty="0"/>
          </a:p>
        </p:txBody>
      </p:sp>
      <p:sp>
        <p:nvSpPr>
          <p:cNvPr id="136" name="Text Placeholder 8">
            <a:extLst>
              <a:ext uri="{FF2B5EF4-FFF2-40B4-BE49-F238E27FC236}">
                <a16:creationId xmlns:a16="http://schemas.microsoft.com/office/drawing/2014/main" id="{D57E5582-9B04-4FBA-A257-ED3A7CE7E220}"/>
              </a:ext>
            </a:extLst>
          </p:cNvPr>
          <p:cNvSpPr txBox="1">
            <a:spLocks/>
          </p:cNvSpPr>
          <p:nvPr/>
        </p:nvSpPr>
        <p:spPr>
          <a:xfrm>
            <a:off x="1553261" y="6084076"/>
            <a:ext cx="9943322" cy="333375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AD, anti-diabetic; ALT, alanine aminotransferase; CI, confidence interval; EPL, essential phospholipids; MD, mean difference; MAFLD, metabolic-associated fatty liver disease; RCT, randomised controlled trials RE, random effects; TG, triglycerides</a:t>
            </a:r>
            <a:br>
              <a:rPr lang="en-GB" sz="1000" dirty="0"/>
            </a:br>
            <a:r>
              <a:rPr lang="en-GB" sz="1000" dirty="0"/>
              <a:t>1. Dajani A, et al. Poster presented at APASL 2020; PO-7-84; 2. Wu Y. J TCM </a:t>
            </a:r>
            <a:r>
              <a:rPr lang="en-GB" sz="1000" dirty="0" err="1"/>
              <a:t>Univ</a:t>
            </a:r>
            <a:r>
              <a:rPr lang="en-GB" sz="1000" dirty="0"/>
              <a:t> Hunan 2009;29:41–42; 3. Yin D, Kong L. Med JQ </a:t>
            </a:r>
            <a:r>
              <a:rPr lang="en-GB" sz="1000" dirty="0" err="1"/>
              <a:t>Illu</a:t>
            </a:r>
            <a:r>
              <a:rPr lang="en-GB" sz="1000" dirty="0"/>
              <a:t> 2000;15:277–278; 4. Li Z. J </a:t>
            </a:r>
            <a:r>
              <a:rPr lang="en-GB" sz="1000" dirty="0" err="1"/>
              <a:t>Tradit</a:t>
            </a:r>
            <a:r>
              <a:rPr lang="en-GB" sz="1000" dirty="0"/>
              <a:t> Chinese Med 2013;31:10–1; 5. Sun C, et al. Clin Focus 2008;23:1272–3</a:t>
            </a:r>
          </a:p>
        </p:txBody>
      </p:sp>
    </p:spTree>
    <p:extLst>
      <p:ext uri="{BB962C8B-B14F-4D97-AF65-F5344CB8AC3E}">
        <p14:creationId xmlns:p14="http://schemas.microsoft.com/office/powerpoint/2010/main" val="1509232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F0BD4E-A75E-4058-A604-08234BCAAA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5F0BD4E-A75E-4058-A604-08234BCAA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DA6B0D1-81EA-4A97-A6D1-CE9EC2BF2E2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86051" name="Rectangle 9">
            <a:extLst>
              <a:ext uri="{FF2B5EF4-FFF2-40B4-BE49-F238E27FC236}">
                <a16:creationId xmlns:a16="http://schemas.microsoft.com/office/drawing/2014/main" id="{8AD6DC2F-2FC1-4F56-A238-694F352B7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1875" y="5735011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D57E3877-CD2F-5DBF-9F0B-CC619D615CE9}"/>
              </a:ext>
            </a:extLst>
          </p:cNvPr>
          <p:cNvGrpSpPr/>
          <p:nvPr/>
        </p:nvGrpSpPr>
        <p:grpSpPr>
          <a:xfrm>
            <a:off x="1664322" y="2001697"/>
            <a:ext cx="8819535" cy="3040159"/>
            <a:chOff x="971467" y="1370750"/>
            <a:chExt cx="10410507" cy="4493761"/>
          </a:xfrm>
        </p:grpSpPr>
        <p:grpSp>
          <p:nvGrpSpPr>
            <p:cNvPr id="27" name="Group 26"/>
            <p:cNvGrpSpPr/>
            <p:nvPr/>
          </p:nvGrpSpPr>
          <p:grpSpPr>
            <a:xfrm>
              <a:off x="971467" y="1371775"/>
              <a:ext cx="6654162" cy="4492736"/>
              <a:chOff x="1077797" y="1301509"/>
              <a:chExt cx="6654162" cy="4492736"/>
            </a:xfrm>
          </p:grpSpPr>
          <p:sp>
            <p:nvSpPr>
              <p:cNvPr id="29" name="Rectangle 13">
                <a:extLst>
                  <a:ext uri="{FF2B5EF4-FFF2-40B4-BE49-F238E27FC236}">
                    <a16:creationId xmlns:a16="http://schemas.microsoft.com/office/drawing/2014/main" id="{1477A307-E8D7-4C4B-8D44-CCE4A6D97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8754" y="1301509"/>
                <a:ext cx="3386025" cy="386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defTabSz="45720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altLang="ru-RU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  <a:cs typeface="Arial" panose="020B0604020202020204" pitchFamily="34" charset="0"/>
                  </a:rPr>
                  <a:t>3 months </a:t>
                </a:r>
                <a:r>
                  <a:rPr kumimoji="0" lang="en-US" altLang="ru-RU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  <a:cs typeface="Arial" panose="020B0604020202020204" pitchFamily="34" charset="0"/>
                  </a:rPr>
                  <a:t>of EPL treatment</a:t>
                </a:r>
                <a:endParaRPr kumimoji="0" lang="ru-RU" altLang="ru-RU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0" name="Group 29"/>
              <p:cNvGrpSpPr/>
              <p:nvPr/>
            </p:nvGrpSpPr>
            <p:grpSpPr>
              <a:xfrm>
                <a:off x="1157620" y="5417717"/>
                <a:ext cx="4639310" cy="376528"/>
                <a:chOff x="1157620" y="5268865"/>
                <a:chExt cx="4639310" cy="376528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B341357A-1C93-4D17-A300-5C309BF3CDC7}"/>
                    </a:ext>
                  </a:extLst>
                </p:cNvPr>
                <p:cNvSpPr/>
                <p:nvPr/>
              </p:nvSpPr>
              <p:spPr>
                <a:xfrm>
                  <a:off x="4377241" y="5370552"/>
                  <a:ext cx="182563" cy="184152"/>
                </a:xfrm>
                <a:prstGeom prst="rect">
                  <a:avLst/>
                </a:prstGeom>
                <a:gradFill>
                  <a:gsLst>
                    <a:gs pos="0">
                      <a:srgbClr val="FFD98F"/>
                    </a:gs>
                    <a:gs pos="57000">
                      <a:srgbClr val="DF8A14"/>
                    </a:gs>
                  </a:gsLst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93542FE2-0AEF-4EBD-8E9B-A6EA8C972288}"/>
                    </a:ext>
                  </a:extLst>
                </p:cNvPr>
                <p:cNvSpPr/>
                <p:nvPr/>
              </p:nvSpPr>
              <p:spPr>
                <a:xfrm>
                  <a:off x="1157620" y="5370554"/>
                  <a:ext cx="182562" cy="184152"/>
                </a:xfrm>
                <a:prstGeom prst="rect">
                  <a:avLst/>
                </a:prstGeom>
                <a:gradFill>
                  <a:gsLst>
                    <a:gs pos="0">
                      <a:srgbClr val="EC9617"/>
                    </a:gs>
                    <a:gs pos="58000">
                      <a:srgbClr val="8C2E00"/>
                    </a:gs>
                  </a:gsLst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39325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78" name="Rectangle 21">
                  <a:extLst>
                    <a:ext uri="{FF2B5EF4-FFF2-40B4-BE49-F238E27FC236}">
                      <a16:creationId xmlns:a16="http://schemas.microsoft.com/office/drawing/2014/main" id="{8F38E725-DA12-443D-ADA1-EEDBA5B24E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9180" y="5270082"/>
                  <a:ext cx="2435603" cy="3753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 defTabSz="457200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altLang="ru-RU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EPL + hypolipidemic treatment (n=766)</a:t>
                  </a:r>
                  <a:endParaRPr kumimoji="0" lang="ru-RU" altLang="ru-RU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Rectangle 22">
                  <a:extLst>
                    <a:ext uri="{FF2B5EF4-FFF2-40B4-BE49-F238E27FC236}">
                      <a16:creationId xmlns:a16="http://schemas.microsoft.com/office/drawing/2014/main" id="{D1AE8945-094D-4FAD-80FE-B5D7AB6C10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1502" y="5268865"/>
                  <a:ext cx="1245428" cy="3753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 defTabSz="457200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altLang="ru-RU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EPL</a:t>
                  </a:r>
                  <a:r>
                    <a:rPr kumimoji="0" lang="ru-RU" altLang="ru-RU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 </a:t>
                  </a:r>
                  <a:r>
                    <a:rPr kumimoji="0" lang="en-US" altLang="ru-RU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only (n=2077)</a:t>
                  </a:r>
                  <a:endParaRPr kumimoji="0" lang="ru-RU" altLang="ru-RU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1" name="Group 30"/>
              <p:cNvGrpSpPr>
                <a:grpSpLocks noChangeAspect="1"/>
              </p:cNvGrpSpPr>
              <p:nvPr/>
            </p:nvGrpSpPr>
            <p:grpSpPr>
              <a:xfrm>
                <a:off x="1077797" y="1683351"/>
                <a:ext cx="6654162" cy="3793761"/>
                <a:chOff x="1119272" y="1481329"/>
                <a:chExt cx="7072814" cy="4032448"/>
              </a:xfrm>
            </p:grpSpPr>
            <p:grpSp>
              <p:nvGrpSpPr>
                <p:cNvPr id="32" name="Group 31"/>
                <p:cNvGrpSpPr/>
                <p:nvPr/>
              </p:nvGrpSpPr>
              <p:grpSpPr>
                <a:xfrm>
                  <a:off x="1119272" y="1481329"/>
                  <a:ext cx="7072814" cy="4032448"/>
                  <a:chOff x="1119272" y="1481329"/>
                  <a:chExt cx="7072814" cy="4032448"/>
                </a:xfrm>
              </p:grpSpPr>
              <p:grpSp>
                <p:nvGrpSpPr>
                  <p:cNvPr id="34" name="Group 33"/>
                  <p:cNvGrpSpPr/>
                  <p:nvPr/>
                </p:nvGrpSpPr>
                <p:grpSpPr>
                  <a:xfrm>
                    <a:off x="1119272" y="1481329"/>
                    <a:ext cx="7072814" cy="4032448"/>
                    <a:chOff x="1119272" y="1481329"/>
                    <a:chExt cx="7072814" cy="4032448"/>
                  </a:xfrm>
                </p:grpSpPr>
                <p:sp>
                  <p:nvSpPr>
                    <p:cNvPr id="40" name="TextBox 39"/>
                    <p:cNvSpPr txBox="1"/>
                    <p:nvPr/>
                  </p:nvSpPr>
                  <p:spPr>
                    <a:xfrm>
                      <a:off x="1552074" y="1802466"/>
                      <a:ext cx="613421" cy="3711311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rIns="0" rtlCol="0">
                      <a:noAutofit/>
                    </a:bodyPr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VLDL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TG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LDL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HDL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Cholesterol12</a:t>
                      </a:r>
                    </a:p>
                  </p:txBody>
                </p:sp>
                <p:grpSp>
                  <p:nvGrpSpPr>
                    <p:cNvPr id="41" name="Group 40"/>
                    <p:cNvGrpSpPr/>
                    <p:nvPr/>
                  </p:nvGrpSpPr>
                  <p:grpSpPr>
                    <a:xfrm>
                      <a:off x="1119272" y="1481329"/>
                      <a:ext cx="4714600" cy="3322538"/>
                      <a:chOff x="1119272" y="1481329"/>
                      <a:chExt cx="4714600" cy="3322538"/>
                    </a:xfrm>
                  </p:grpSpPr>
                  <p:grpSp>
                    <p:nvGrpSpPr>
                      <p:cNvPr id="42" name="Group 41"/>
                      <p:cNvGrpSpPr/>
                      <p:nvPr/>
                    </p:nvGrpSpPr>
                    <p:grpSpPr>
                      <a:xfrm>
                        <a:off x="1119272" y="1481329"/>
                        <a:ext cx="4714600" cy="3255265"/>
                        <a:chOff x="1119272" y="1481329"/>
                        <a:chExt cx="4714600" cy="3255265"/>
                      </a:xfrm>
                    </p:grpSpPr>
                    <p:grpSp>
                      <p:nvGrpSpPr>
                        <p:cNvPr id="48" name="Group 47"/>
                        <p:cNvGrpSpPr/>
                        <p:nvPr/>
                      </p:nvGrpSpPr>
                      <p:grpSpPr>
                        <a:xfrm>
                          <a:off x="1119272" y="1481329"/>
                          <a:ext cx="4714600" cy="3255265"/>
                          <a:chOff x="1119272" y="1481329"/>
                          <a:chExt cx="4714600" cy="3255265"/>
                        </a:xfrm>
                      </p:grpSpPr>
                      <p:grpSp>
                        <p:nvGrpSpPr>
                          <p:cNvPr id="55" name="Group 54"/>
                          <p:cNvGrpSpPr/>
                          <p:nvPr/>
                        </p:nvGrpSpPr>
                        <p:grpSpPr>
                          <a:xfrm>
                            <a:off x="2295144" y="1481329"/>
                            <a:ext cx="3538728" cy="3255265"/>
                            <a:chOff x="2295144" y="1481329"/>
                            <a:chExt cx="3538728" cy="3255265"/>
                          </a:xfrm>
                        </p:grpSpPr>
                        <p:grpSp>
                          <p:nvGrpSpPr>
                            <p:cNvPr id="57" name="Group 56"/>
                            <p:cNvGrpSpPr/>
                            <p:nvPr/>
                          </p:nvGrpSpPr>
                          <p:grpSpPr>
                            <a:xfrm>
                              <a:off x="2295144" y="1481329"/>
                              <a:ext cx="3538728" cy="3255265"/>
                              <a:chOff x="2295144" y="1481329"/>
                              <a:chExt cx="3538728" cy="3255265"/>
                            </a:xfrm>
                          </p:grpSpPr>
                          <p:cxnSp>
                            <p:nvCxnSpPr>
                              <p:cNvPr id="74" name="Straight Connector 73"/>
                              <p:cNvCxnSpPr/>
                              <p:nvPr/>
                            </p:nvCxnSpPr>
                            <p:spPr>
                              <a:xfrm flipV="1">
                                <a:off x="2295144" y="1481329"/>
                                <a:ext cx="0" cy="3255263"/>
                              </a:xfrm>
                              <a:prstGeom prst="line">
                                <a:avLst/>
                              </a:prstGeom>
                              <a:ln w="6350">
                                <a:solidFill>
                                  <a:schemeClr val="bg2">
                                    <a:lumMod val="75000"/>
                                  </a:schemeClr>
                                </a:solidFill>
                              </a:ln>
                            </p:spPr>
                            <p:style>
                              <a:lnRef idx="1">
                                <a:schemeClr val="accent1"/>
                              </a:lnRef>
                              <a:fillRef idx="0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tx1"/>
                              </a:fontRef>
                            </p:style>
                          </p:cxnSp>
                          <p:cxnSp>
                            <p:nvCxnSpPr>
                              <p:cNvPr id="75" name="Straight Connector 74"/>
                              <p:cNvCxnSpPr/>
                              <p:nvPr/>
                            </p:nvCxnSpPr>
                            <p:spPr>
                              <a:xfrm>
                                <a:off x="2295144" y="4736594"/>
                                <a:ext cx="3538728" cy="0"/>
                              </a:xfrm>
                              <a:prstGeom prst="line">
                                <a:avLst/>
                              </a:prstGeom>
                              <a:ln w="6350">
                                <a:solidFill>
                                  <a:schemeClr val="bg2">
                                    <a:lumMod val="75000"/>
                                  </a:schemeClr>
                                </a:solidFill>
                              </a:ln>
                            </p:spPr>
                            <p:style>
                              <a:lnRef idx="1">
                                <a:schemeClr val="accent1"/>
                              </a:lnRef>
                              <a:fillRef idx="0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tx1"/>
                              </a:fontRef>
                            </p:style>
                          </p:cxnSp>
                        </p:grpSp>
                        <p:grpSp>
                          <p:nvGrpSpPr>
                            <p:cNvPr id="58" name="Group 57"/>
                            <p:cNvGrpSpPr/>
                            <p:nvPr/>
                          </p:nvGrpSpPr>
                          <p:grpSpPr>
                            <a:xfrm>
                              <a:off x="2469626" y="1582309"/>
                              <a:ext cx="3175800" cy="3072567"/>
                              <a:chOff x="2469626" y="1582309"/>
                              <a:chExt cx="3175800" cy="3072567"/>
                            </a:xfrm>
                          </p:grpSpPr>
                          <p:grpSp>
                            <p:nvGrpSpPr>
                              <p:cNvPr id="59" name="Group 58"/>
                              <p:cNvGrpSpPr/>
                              <p:nvPr/>
                            </p:nvGrpSpPr>
                            <p:grpSpPr>
                              <a:xfrm>
                                <a:off x="4397822" y="1582309"/>
                                <a:ext cx="914400" cy="572719"/>
                                <a:chOff x="4397822" y="1582309"/>
                                <a:chExt cx="914400" cy="572719"/>
                              </a:xfrm>
                            </p:grpSpPr>
                            <p:sp>
                              <p:nvSpPr>
                                <p:cNvPr id="72" name="Rectangle 71"/>
                                <p:cNvSpPr/>
                                <p:nvPr/>
                              </p:nvSpPr>
                              <p:spPr>
                                <a:xfrm>
                                  <a:off x="4397822" y="1582309"/>
                                  <a:ext cx="914399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EC9617"/>
                                    </a:gs>
                                    <a:gs pos="58000">
                                      <a:srgbClr val="8C2E00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solidFill>
                                        <a:srgbClr val="F39325"/>
                                      </a:solidFill>
                                    </a:ln>
                                    <a:solidFill>
                                      <a:srgbClr val="F39325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73" name="Rectangle 72"/>
                                <p:cNvSpPr/>
                                <p:nvPr/>
                              </p:nvSpPr>
                              <p:spPr>
                                <a:xfrm>
                                  <a:off x="4881527" y="1877831"/>
                                  <a:ext cx="430695" cy="277197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FFD98F"/>
                                    </a:gs>
                                    <a:gs pos="57000">
                                      <a:srgbClr val="DF8A14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A54A24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60" name="Group 59"/>
                              <p:cNvGrpSpPr/>
                              <p:nvPr/>
                            </p:nvGrpSpPr>
                            <p:grpSpPr>
                              <a:xfrm>
                                <a:off x="4038685" y="2207482"/>
                                <a:ext cx="1273537" cy="571439"/>
                                <a:chOff x="4037358" y="1578003"/>
                                <a:chExt cx="1273537" cy="571439"/>
                              </a:xfrm>
                            </p:grpSpPr>
                            <p:sp>
                              <p:nvSpPr>
                                <p:cNvPr id="70" name="Rectangle 69"/>
                                <p:cNvSpPr/>
                                <p:nvPr/>
                              </p:nvSpPr>
                              <p:spPr>
                                <a:xfrm>
                                  <a:off x="4037358" y="1578003"/>
                                  <a:ext cx="1273536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EC9617"/>
                                    </a:gs>
                                    <a:gs pos="58000">
                                      <a:srgbClr val="8C2E00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solidFill>
                                        <a:srgbClr val="F39325"/>
                                      </a:solidFill>
                                    </a:ln>
                                    <a:solidFill>
                                      <a:srgbClr val="F39325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71" name="Rectangle 70"/>
                                <p:cNvSpPr/>
                                <p:nvPr/>
                              </p:nvSpPr>
                              <p:spPr>
                                <a:xfrm>
                                  <a:off x="4727798" y="1872242"/>
                                  <a:ext cx="583097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FFD98F"/>
                                    </a:gs>
                                    <a:gs pos="57000">
                                      <a:srgbClr val="DF8A14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A54A24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61" name="Group 60"/>
                              <p:cNvGrpSpPr/>
                              <p:nvPr/>
                            </p:nvGrpSpPr>
                            <p:grpSpPr>
                              <a:xfrm>
                                <a:off x="2940080" y="2832655"/>
                                <a:ext cx="2372142" cy="570155"/>
                                <a:chOff x="2937427" y="1573696"/>
                                <a:chExt cx="2372142" cy="570155"/>
                              </a:xfrm>
                            </p:grpSpPr>
                            <p:sp>
                              <p:nvSpPr>
                                <p:cNvPr id="68" name="Rectangle 67"/>
                                <p:cNvSpPr/>
                                <p:nvPr/>
                              </p:nvSpPr>
                              <p:spPr>
                                <a:xfrm>
                                  <a:off x="2937427" y="1573696"/>
                                  <a:ext cx="2372142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EC9617"/>
                                    </a:gs>
                                    <a:gs pos="58000">
                                      <a:srgbClr val="8C2E00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solidFill>
                                        <a:srgbClr val="F39325"/>
                                      </a:solidFill>
                                    </a:ln>
                                    <a:solidFill>
                                      <a:srgbClr val="F39325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69" name="Rectangle 68"/>
                                <p:cNvSpPr/>
                                <p:nvPr/>
                              </p:nvSpPr>
                              <p:spPr>
                                <a:xfrm>
                                  <a:off x="4017477" y="1866651"/>
                                  <a:ext cx="1292092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FFD98F"/>
                                    </a:gs>
                                    <a:gs pos="57000">
                                      <a:srgbClr val="DF8A14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A54A24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62" name="Group 61"/>
                              <p:cNvGrpSpPr/>
                              <p:nvPr/>
                            </p:nvGrpSpPr>
                            <p:grpSpPr>
                              <a:xfrm>
                                <a:off x="2469626" y="4083001"/>
                                <a:ext cx="2842595" cy="571875"/>
                                <a:chOff x="2473598" y="1582309"/>
                                <a:chExt cx="2842595" cy="571875"/>
                              </a:xfrm>
                            </p:grpSpPr>
                            <p:sp>
                              <p:nvSpPr>
                                <p:cNvPr id="66" name="Rectangle 65"/>
                                <p:cNvSpPr/>
                                <p:nvPr/>
                              </p:nvSpPr>
                              <p:spPr>
                                <a:xfrm>
                                  <a:off x="2473598" y="1582309"/>
                                  <a:ext cx="2842594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EC9617"/>
                                    </a:gs>
                                    <a:gs pos="58000">
                                      <a:srgbClr val="8C2E00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solidFill>
                                        <a:srgbClr val="F39325"/>
                                      </a:solidFill>
                                    </a:ln>
                                    <a:solidFill>
                                      <a:srgbClr val="F39325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67" name="Rectangle 66"/>
                                <p:cNvSpPr/>
                                <p:nvPr/>
                              </p:nvSpPr>
                              <p:spPr>
                                <a:xfrm>
                                  <a:off x="4302401" y="1876981"/>
                                  <a:ext cx="1013792" cy="277203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FFD98F"/>
                                    </a:gs>
                                    <a:gs pos="57000">
                                      <a:srgbClr val="DF8A14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A54A24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63" name="Group 62"/>
                              <p:cNvGrpSpPr/>
                              <p:nvPr/>
                            </p:nvGrpSpPr>
                            <p:grpSpPr>
                              <a:xfrm>
                                <a:off x="5312794" y="3457829"/>
                                <a:ext cx="332632" cy="577392"/>
                                <a:chOff x="4389120" y="1572050"/>
                                <a:chExt cx="332632" cy="577392"/>
                              </a:xfrm>
                            </p:grpSpPr>
                            <p:sp>
                              <p:nvSpPr>
                                <p:cNvPr id="64" name="Rectangle 63"/>
                                <p:cNvSpPr/>
                                <p:nvPr/>
                              </p:nvSpPr>
                              <p:spPr>
                                <a:xfrm>
                                  <a:off x="4389120" y="1572050"/>
                                  <a:ext cx="332632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EC9617"/>
                                    </a:gs>
                                    <a:gs pos="58000">
                                      <a:srgbClr val="8C2E00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solidFill>
                                        <a:srgbClr val="F39325"/>
                                      </a:solidFill>
                                    </a:ln>
                                    <a:solidFill>
                                      <a:srgbClr val="F39325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65" name="Rectangle 64"/>
                                <p:cNvSpPr/>
                                <p:nvPr/>
                              </p:nvSpPr>
                              <p:spPr>
                                <a:xfrm>
                                  <a:off x="4389925" y="1872242"/>
                                  <a:ext cx="140995" cy="277200"/>
                                </a:xfrm>
                                <a:prstGeom prst="rect">
                                  <a:avLst/>
                                </a:prstGeom>
                                <a:gradFill flip="none" rotWithShape="1">
                                  <a:gsLst>
                                    <a:gs pos="0">
                                      <a:srgbClr val="FFD98F"/>
                                    </a:gs>
                                    <a:gs pos="57000">
                                      <a:srgbClr val="DF8A14"/>
                                    </a:gs>
                                  </a:gsLst>
                                  <a:path path="circle">
                                    <a:fillToRect l="100000" b="100000"/>
                                  </a:path>
                                  <a:tileRect t="-100000" r="-100000"/>
                                </a:gradFill>
                                <a:ln w="19050">
                                  <a:noFill/>
                                </a:ln>
                                <a:effectLst/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marL="0" marR="0" lvl="0" indent="0" algn="ctr" defTabSz="457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GB" sz="1400" b="0" i="0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A54A24"/>
                                    </a:solidFill>
                                    <a:effectLst/>
                                    <a:uLnTx/>
                                    <a:uFillTx/>
                                    <a:latin typeface="TradeGothic LT CondEighteen" panose="02000606020000020004" pitchFamily="2" charset="0"/>
                                  </a:endParaRPr>
                                </a:p>
                              </p:txBody>
                            </p:sp>
                          </p:grpSp>
                        </p:grpSp>
                      </p:grpSp>
                      <p:sp>
                        <p:nvSpPr>
                          <p:cNvPr id="56" name="TextBox 55"/>
                          <p:cNvSpPr txBox="1"/>
                          <p:nvPr/>
                        </p:nvSpPr>
                        <p:spPr>
                          <a:xfrm rot="16200000">
                            <a:off x="1066" y="3017075"/>
                            <a:ext cx="2583951" cy="347539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square" rtlCol="0">
                            <a:spAutoFit/>
                          </a:bodyPr>
                          <a:lstStyle/>
                          <a:p>
                            <a:pPr marL="0" marR="0" lvl="0" indent="0" algn="ctr" defTabSz="4572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r>
                              <a:rPr kumimoji="0" lang="en-GB" sz="1200" b="1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>
                                    <a:lumMod val="75000"/>
                                    <a:lumOff val="25000"/>
                                  </a:srgbClr>
                                </a:solidFill>
                                <a:effectLst/>
                                <a:uLnTx/>
                                <a:uFillTx/>
                                <a:latin typeface="TradeGothic LT CondEighteen" panose="02000606020000020004" pitchFamily="2" charset="0"/>
                              </a:rPr>
                              <a:t>Blood lipid profile</a:t>
                            </a:r>
                          </a:p>
                        </p:txBody>
                      </p:sp>
                    </p:grpSp>
                    <p:grpSp>
                      <p:nvGrpSpPr>
                        <p:cNvPr id="49" name="Group 48"/>
                        <p:cNvGrpSpPr/>
                        <p:nvPr/>
                      </p:nvGrpSpPr>
                      <p:grpSpPr>
                        <a:xfrm>
                          <a:off x="2221818" y="1860601"/>
                          <a:ext cx="76306" cy="2504146"/>
                          <a:chOff x="2221818" y="1860601"/>
                          <a:chExt cx="76306" cy="2504146"/>
                        </a:xfrm>
                      </p:grpSpPr>
                      <p:cxnSp>
                        <p:nvCxnSpPr>
                          <p:cNvPr id="50" name="Straight Connector 49"/>
                          <p:cNvCxnSpPr/>
                          <p:nvPr/>
                        </p:nvCxnSpPr>
                        <p:spPr>
                          <a:xfrm>
                            <a:off x="2224797" y="1860601"/>
                            <a:ext cx="72000" cy="0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chemeClr val="bg2">
                                <a:lumMod val="7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51" name="Straight Connector 50"/>
                          <p:cNvCxnSpPr/>
                          <p:nvPr/>
                        </p:nvCxnSpPr>
                        <p:spPr>
                          <a:xfrm>
                            <a:off x="2226123" y="2490081"/>
                            <a:ext cx="72001" cy="0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chemeClr val="bg2">
                                <a:lumMod val="7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52" name="Straight Connector 51"/>
                          <p:cNvCxnSpPr/>
                          <p:nvPr/>
                        </p:nvCxnSpPr>
                        <p:spPr>
                          <a:xfrm>
                            <a:off x="2224807" y="3121629"/>
                            <a:ext cx="72000" cy="0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chemeClr val="bg2">
                                <a:lumMod val="7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53" name="Straight Connector 52"/>
                          <p:cNvCxnSpPr/>
                          <p:nvPr/>
                        </p:nvCxnSpPr>
                        <p:spPr>
                          <a:xfrm>
                            <a:off x="2221818" y="3740194"/>
                            <a:ext cx="72000" cy="0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chemeClr val="bg2">
                                <a:lumMod val="7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54" name="Straight Connector 53"/>
                          <p:cNvCxnSpPr/>
                          <p:nvPr/>
                        </p:nvCxnSpPr>
                        <p:spPr>
                          <a:xfrm>
                            <a:off x="2224795" y="4364747"/>
                            <a:ext cx="72000" cy="0"/>
                          </a:xfrm>
                          <a:prstGeom prst="line">
                            <a:avLst/>
                          </a:prstGeom>
                          <a:ln w="6350">
                            <a:solidFill>
                              <a:schemeClr val="bg2">
                                <a:lumMod val="7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</p:grpSp>
                  </p:grpSp>
                  <p:grpSp>
                    <p:nvGrpSpPr>
                      <p:cNvPr id="43" name="Group 42"/>
                      <p:cNvGrpSpPr/>
                      <p:nvPr/>
                    </p:nvGrpSpPr>
                    <p:grpSpPr>
                      <a:xfrm>
                        <a:off x="2995323" y="4730400"/>
                        <a:ext cx="2310577" cy="73467"/>
                        <a:chOff x="2995323" y="4730400"/>
                        <a:chExt cx="2310577" cy="73467"/>
                      </a:xfrm>
                    </p:grpSpPr>
                    <p:cxnSp>
                      <p:nvCxnSpPr>
                        <p:cNvPr id="44" name="Straight Connector 43"/>
                        <p:cNvCxnSpPr/>
                        <p:nvPr/>
                      </p:nvCxnSpPr>
                      <p:spPr>
                        <a:xfrm rot="5400000">
                          <a:off x="2959323" y="4767867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5" name="Straight Connector 44"/>
                        <p:cNvCxnSpPr/>
                        <p:nvPr/>
                      </p:nvCxnSpPr>
                      <p:spPr>
                        <a:xfrm rot="5400000">
                          <a:off x="3723779" y="4766400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" name="Straight Connector 45"/>
                        <p:cNvCxnSpPr/>
                        <p:nvPr/>
                      </p:nvCxnSpPr>
                      <p:spPr>
                        <a:xfrm rot="5400000">
                          <a:off x="4505444" y="4766400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7" name="Straight Connector 46"/>
                        <p:cNvCxnSpPr/>
                        <p:nvPr/>
                      </p:nvCxnSpPr>
                      <p:spPr>
                        <a:xfrm rot="5400000">
                          <a:off x="5269900" y="4766400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sp>
                  <p:nvSpPr>
                    <p:cNvPr id="16" name="TextBox 39">
                      <a:extLst>
                        <a:ext uri="{FF2B5EF4-FFF2-40B4-BE49-F238E27FC236}">
                          <a16:creationId xmlns:a16="http://schemas.microsoft.com/office/drawing/2014/main" id="{CFE71E05-EF61-6CC0-594A-67287375FA9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78665" y="1802466"/>
                      <a:ext cx="613421" cy="3711311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rIns="0" rtlCol="0">
                      <a:noAutofit/>
                    </a:bodyPr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VLDL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TG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LDL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HDL12</a:t>
                      </a:r>
                    </a:p>
                    <a:p>
                      <a:pPr marL="0" marR="0" lvl="0" indent="0" algn="r" defTabSz="457200" rtl="0" eaLnBrk="1" fontAlgn="auto" latinLnBrk="0" hangingPunct="1">
                        <a:lnSpc>
                          <a:spcPts val="0"/>
                        </a:lnSpc>
                        <a:spcBef>
                          <a:spcPts val="0"/>
                        </a:spcBef>
                        <a:spcAft>
                          <a:spcPts val="3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Cholesterol12</a:t>
                      </a:r>
                    </a:p>
                  </p:txBody>
                </p:sp>
              </p:grpSp>
              <p:grpSp>
                <p:nvGrpSpPr>
                  <p:cNvPr id="35" name="Group 34"/>
                  <p:cNvGrpSpPr/>
                  <p:nvPr/>
                </p:nvGrpSpPr>
                <p:grpSpPr>
                  <a:xfrm>
                    <a:off x="2753949" y="4793634"/>
                    <a:ext cx="2794345" cy="213181"/>
                    <a:chOff x="2753949" y="4793634"/>
                    <a:chExt cx="2794345" cy="213181"/>
                  </a:xfrm>
                </p:grpSpPr>
                <p:sp>
                  <p:nvSpPr>
                    <p:cNvPr id="36" name="TextBox 35"/>
                    <p:cNvSpPr txBox="1"/>
                    <p:nvPr/>
                  </p:nvSpPr>
                  <p:spPr>
                    <a:xfrm>
                      <a:off x="2753949" y="4794431"/>
                      <a:ext cx="468000" cy="21238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-0.75</a:t>
                      </a:r>
                    </a:p>
                  </p:txBody>
                </p:sp>
                <p:sp>
                  <p:nvSpPr>
                    <p:cNvPr id="37" name="TextBox 36"/>
                    <p:cNvSpPr txBox="1"/>
                    <p:nvPr/>
                  </p:nvSpPr>
                  <p:spPr>
                    <a:xfrm>
                      <a:off x="3525778" y="4793634"/>
                      <a:ext cx="468000" cy="21238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-0.50</a:t>
                      </a:r>
                    </a:p>
                  </p:txBody>
                </p:sp>
                <p:sp>
                  <p:nvSpPr>
                    <p:cNvPr id="38" name="TextBox 37"/>
                    <p:cNvSpPr txBox="1"/>
                    <p:nvPr/>
                  </p:nvSpPr>
                  <p:spPr>
                    <a:xfrm>
                      <a:off x="4314672" y="4793634"/>
                      <a:ext cx="468000" cy="21238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-0.25</a:t>
                      </a:r>
                    </a:p>
                  </p:txBody>
                </p:sp>
                <p:sp>
                  <p:nvSpPr>
                    <p:cNvPr id="39" name="TextBox 38"/>
                    <p:cNvSpPr txBox="1"/>
                    <p:nvPr/>
                  </p:nvSpPr>
                  <p:spPr>
                    <a:xfrm>
                      <a:off x="5080294" y="4793634"/>
                      <a:ext cx="468000" cy="21238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0.00</a:t>
                      </a:r>
                    </a:p>
                  </p:txBody>
                </p:sp>
              </p:grpSp>
            </p:grpSp>
            <p:sp>
              <p:nvSpPr>
                <p:cNvPr id="33" name="TextBox 32"/>
                <p:cNvSpPr txBox="1"/>
                <p:nvPr/>
              </p:nvSpPr>
              <p:spPr>
                <a:xfrm>
                  <a:off x="2295144" y="4998517"/>
                  <a:ext cx="3538728" cy="43520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</a:rPr>
                    <a:t>Mean concentration change</a:t>
                  </a:r>
                </a:p>
              </p:txBody>
            </p:sp>
          </p:grpSp>
        </p:grpSp>
        <p:grpSp>
          <p:nvGrpSpPr>
            <p:cNvPr id="80" name="Group 79"/>
            <p:cNvGrpSpPr/>
            <p:nvPr/>
          </p:nvGrpSpPr>
          <p:grpSpPr>
            <a:xfrm>
              <a:off x="6636777" y="1370750"/>
              <a:ext cx="4745197" cy="4492520"/>
              <a:chOff x="6806901" y="1300484"/>
              <a:chExt cx="4745197" cy="4492520"/>
            </a:xfrm>
          </p:grpSpPr>
          <p:sp>
            <p:nvSpPr>
              <p:cNvPr id="82" name="Rectangle 17">
                <a:extLst>
                  <a:ext uri="{FF2B5EF4-FFF2-40B4-BE49-F238E27FC236}">
                    <a16:creationId xmlns:a16="http://schemas.microsoft.com/office/drawing/2014/main" id="{562FB996-7B0C-4C85-B8BC-248C1AEDD6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06423" y="1300484"/>
                <a:ext cx="3335386" cy="386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defTabSz="45720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4572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4572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altLang="ru-RU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  <a:cs typeface="Arial" panose="020B0604020202020204" pitchFamily="34" charset="0"/>
                  </a:rPr>
                  <a:t>6 months of </a:t>
                </a:r>
                <a:r>
                  <a:rPr kumimoji="0" lang="en-US" altLang="ru-RU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  <a:cs typeface="Arial" panose="020B0604020202020204" pitchFamily="34" charset="0"/>
                  </a:rPr>
                  <a:t>EPL treatment</a:t>
                </a:r>
                <a:endParaRPr kumimoji="0" lang="ru-RU" altLang="ru-RU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83" name="Group 82"/>
              <p:cNvGrpSpPr>
                <a:grpSpLocks noChangeAspect="1"/>
              </p:cNvGrpSpPr>
              <p:nvPr/>
            </p:nvGrpSpPr>
            <p:grpSpPr>
              <a:xfrm>
                <a:off x="6806901" y="1688401"/>
                <a:ext cx="4454117" cy="3717149"/>
                <a:chOff x="5687538" y="1484314"/>
                <a:chExt cx="4734390" cy="3951051"/>
              </a:xfrm>
            </p:grpSpPr>
            <p:grpSp>
              <p:nvGrpSpPr>
                <p:cNvPr id="89" name="Group 88"/>
                <p:cNvGrpSpPr/>
                <p:nvPr/>
              </p:nvGrpSpPr>
              <p:grpSpPr>
                <a:xfrm>
                  <a:off x="5687538" y="1484314"/>
                  <a:ext cx="4734390" cy="3524069"/>
                  <a:chOff x="5687538" y="1484314"/>
                  <a:chExt cx="4734390" cy="3524069"/>
                </a:xfrm>
              </p:grpSpPr>
              <p:grpSp>
                <p:nvGrpSpPr>
                  <p:cNvPr id="98" name="Group 97"/>
                  <p:cNvGrpSpPr/>
                  <p:nvPr/>
                </p:nvGrpSpPr>
                <p:grpSpPr>
                  <a:xfrm>
                    <a:off x="5687538" y="1484314"/>
                    <a:ext cx="4734390" cy="3318684"/>
                    <a:chOff x="5687538" y="1484314"/>
                    <a:chExt cx="4734390" cy="3318683"/>
                  </a:xfrm>
                </p:grpSpPr>
                <p:grpSp>
                  <p:nvGrpSpPr>
                    <p:cNvPr id="99" name="Group 98"/>
                    <p:cNvGrpSpPr/>
                    <p:nvPr/>
                  </p:nvGrpSpPr>
                  <p:grpSpPr>
                    <a:xfrm>
                      <a:off x="5687538" y="1484314"/>
                      <a:ext cx="4734390" cy="3254400"/>
                      <a:chOff x="5687538" y="1484314"/>
                      <a:chExt cx="4734390" cy="3254400"/>
                    </a:xfrm>
                  </p:grpSpPr>
                  <p:grpSp>
                    <p:nvGrpSpPr>
                      <p:cNvPr id="105" name="Group 104"/>
                      <p:cNvGrpSpPr/>
                      <p:nvPr/>
                    </p:nvGrpSpPr>
                    <p:grpSpPr>
                      <a:xfrm>
                        <a:off x="5687538" y="1484314"/>
                        <a:ext cx="4734390" cy="3254400"/>
                        <a:chOff x="5687538" y="1484314"/>
                        <a:chExt cx="4734390" cy="3254400"/>
                      </a:xfrm>
                    </p:grpSpPr>
                    <p:grpSp>
                      <p:nvGrpSpPr>
                        <p:cNvPr id="112" name="Group 111"/>
                        <p:cNvGrpSpPr/>
                        <p:nvPr/>
                      </p:nvGrpSpPr>
                      <p:grpSpPr>
                        <a:xfrm>
                          <a:off x="6882384" y="1484314"/>
                          <a:ext cx="3539544" cy="3254400"/>
                          <a:chOff x="6882384" y="1484314"/>
                          <a:chExt cx="3539544" cy="3254400"/>
                        </a:xfrm>
                      </p:grpSpPr>
                      <p:grpSp>
                        <p:nvGrpSpPr>
                          <p:cNvPr id="114" name="Group 113"/>
                          <p:cNvGrpSpPr/>
                          <p:nvPr/>
                        </p:nvGrpSpPr>
                        <p:grpSpPr>
                          <a:xfrm>
                            <a:off x="6882384" y="1484314"/>
                            <a:ext cx="3539544" cy="3254400"/>
                            <a:chOff x="6882384" y="1484314"/>
                            <a:chExt cx="3539544" cy="3254400"/>
                          </a:xfrm>
                        </p:grpSpPr>
                        <p:cxnSp>
                          <p:nvCxnSpPr>
                            <p:cNvPr id="131" name="Straight Connector 130"/>
                            <p:cNvCxnSpPr/>
                            <p:nvPr/>
                          </p:nvCxnSpPr>
                          <p:spPr>
                            <a:xfrm flipV="1">
                              <a:off x="6882384" y="1484314"/>
                              <a:ext cx="0" cy="3254400"/>
                            </a:xfrm>
                            <a:prstGeom prst="line">
                              <a:avLst/>
                            </a:prstGeom>
                            <a:ln w="6350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132" name="Straight Connector 131"/>
                            <p:cNvCxnSpPr/>
                            <p:nvPr/>
                          </p:nvCxnSpPr>
                          <p:spPr>
                            <a:xfrm>
                              <a:off x="6883200" y="4730400"/>
                              <a:ext cx="3538728" cy="0"/>
                            </a:xfrm>
                            <a:prstGeom prst="line">
                              <a:avLst/>
                            </a:prstGeom>
                            <a:ln w="6350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</p:grpSp>
                      <p:grpSp>
                        <p:nvGrpSpPr>
                          <p:cNvPr id="115" name="Group 114"/>
                          <p:cNvGrpSpPr/>
                          <p:nvPr/>
                        </p:nvGrpSpPr>
                        <p:grpSpPr>
                          <a:xfrm>
                            <a:off x="7060179" y="1582309"/>
                            <a:ext cx="3165198" cy="3078153"/>
                            <a:chOff x="2409332" y="1582309"/>
                            <a:chExt cx="3165198" cy="3078153"/>
                          </a:xfrm>
                        </p:grpSpPr>
                        <p:grpSp>
                          <p:nvGrpSpPr>
                            <p:cNvPr id="116" name="Group 115"/>
                            <p:cNvGrpSpPr/>
                            <p:nvPr/>
                          </p:nvGrpSpPr>
                          <p:grpSpPr>
                            <a:xfrm>
                              <a:off x="4584017" y="1582309"/>
                              <a:ext cx="722903" cy="572722"/>
                              <a:chOff x="4584017" y="1582309"/>
                              <a:chExt cx="722903" cy="572722"/>
                            </a:xfrm>
                          </p:grpSpPr>
                          <p:sp>
                            <p:nvSpPr>
                              <p:cNvPr id="129" name="Rectangle 128"/>
                              <p:cNvSpPr/>
                              <p:nvPr/>
                            </p:nvSpPr>
                            <p:spPr>
                              <a:xfrm>
                                <a:off x="4584017" y="1582309"/>
                                <a:ext cx="722903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EC9617"/>
                                  </a:gs>
                                  <a:gs pos="58000">
                                    <a:srgbClr val="8C2E00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solidFill>
                                      <a:srgbClr val="F39325"/>
                                    </a:solidFill>
                                  </a:ln>
                                  <a:solidFill>
                                    <a:srgbClr val="F39325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30" name="Rectangle 129"/>
                              <p:cNvSpPr/>
                              <p:nvPr/>
                            </p:nvSpPr>
                            <p:spPr>
                              <a:xfrm>
                                <a:off x="4948452" y="1877831"/>
                                <a:ext cx="358468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FFD98F"/>
                                  </a:gs>
                                  <a:gs pos="57000">
                                    <a:srgbClr val="DF8A14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A54A24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</p:grpSp>
                        <p:grpSp>
                          <p:nvGrpSpPr>
                            <p:cNvPr id="117" name="Group 116"/>
                            <p:cNvGrpSpPr/>
                            <p:nvPr/>
                          </p:nvGrpSpPr>
                          <p:grpSpPr>
                            <a:xfrm>
                              <a:off x="4193077" y="2211788"/>
                              <a:ext cx="1113844" cy="572722"/>
                              <a:chOff x="4191750" y="1582309"/>
                              <a:chExt cx="1113844" cy="572722"/>
                            </a:xfrm>
                          </p:grpSpPr>
                          <p:sp>
                            <p:nvSpPr>
                              <p:cNvPr id="127" name="Rectangle 126"/>
                              <p:cNvSpPr/>
                              <p:nvPr/>
                            </p:nvSpPr>
                            <p:spPr>
                              <a:xfrm>
                                <a:off x="4191750" y="1582309"/>
                                <a:ext cx="1113844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EC9617"/>
                                  </a:gs>
                                  <a:gs pos="58000">
                                    <a:srgbClr val="8C2E00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solidFill>
                                      <a:srgbClr val="F39325"/>
                                    </a:solidFill>
                                  </a:ln>
                                  <a:solidFill>
                                    <a:srgbClr val="F39325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8" name="Rectangle 127"/>
                              <p:cNvSpPr/>
                              <p:nvPr/>
                            </p:nvSpPr>
                            <p:spPr>
                              <a:xfrm>
                                <a:off x="4675453" y="1877831"/>
                                <a:ext cx="630141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FFD98F"/>
                                  </a:gs>
                                  <a:gs pos="57000">
                                    <a:srgbClr val="DF8A14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A54A24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</p:grpSp>
                        <p:grpSp>
                          <p:nvGrpSpPr>
                            <p:cNvPr id="118" name="Group 117"/>
                            <p:cNvGrpSpPr/>
                            <p:nvPr/>
                          </p:nvGrpSpPr>
                          <p:grpSpPr>
                            <a:xfrm>
                              <a:off x="3309157" y="2841268"/>
                              <a:ext cx="1997764" cy="572722"/>
                              <a:chOff x="3306504" y="1582309"/>
                              <a:chExt cx="1997764" cy="572722"/>
                            </a:xfrm>
                          </p:grpSpPr>
                          <p:sp>
                            <p:nvSpPr>
                              <p:cNvPr id="125" name="Rectangle 124"/>
                              <p:cNvSpPr/>
                              <p:nvPr/>
                            </p:nvSpPr>
                            <p:spPr>
                              <a:xfrm>
                                <a:off x="3306504" y="1582309"/>
                                <a:ext cx="1997764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EC9617"/>
                                  </a:gs>
                                  <a:gs pos="58000">
                                    <a:srgbClr val="8C2E00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solidFill>
                                      <a:srgbClr val="F39325"/>
                                    </a:solidFill>
                                  </a:ln>
                                  <a:solidFill>
                                    <a:srgbClr val="F39325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6" name="Rectangle 125"/>
                              <p:cNvSpPr/>
                              <p:nvPr/>
                            </p:nvSpPr>
                            <p:spPr>
                              <a:xfrm>
                                <a:off x="4171870" y="1877831"/>
                                <a:ext cx="1132398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FFD98F"/>
                                  </a:gs>
                                  <a:gs pos="57000">
                                    <a:srgbClr val="DF8A14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A54A24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</p:grpSp>
                        <p:grpSp>
                          <p:nvGrpSpPr>
                            <p:cNvPr id="119" name="Group 118"/>
                            <p:cNvGrpSpPr/>
                            <p:nvPr/>
                          </p:nvGrpSpPr>
                          <p:grpSpPr>
                            <a:xfrm>
                              <a:off x="2409332" y="4083001"/>
                              <a:ext cx="2897589" cy="577461"/>
                              <a:chOff x="2413304" y="1582309"/>
                              <a:chExt cx="2897589" cy="577461"/>
                            </a:xfrm>
                          </p:grpSpPr>
                          <p:sp>
                            <p:nvSpPr>
                              <p:cNvPr id="123" name="Rectangle 122"/>
                              <p:cNvSpPr/>
                              <p:nvPr/>
                            </p:nvSpPr>
                            <p:spPr>
                              <a:xfrm>
                                <a:off x="2413304" y="1582309"/>
                                <a:ext cx="2897589" cy="277201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EC9617"/>
                                  </a:gs>
                                  <a:gs pos="58000">
                                    <a:srgbClr val="8C2E00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solidFill>
                                      <a:srgbClr val="F39325"/>
                                    </a:solidFill>
                                  </a:ln>
                                  <a:solidFill>
                                    <a:srgbClr val="F39325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4" name="Rectangle 123"/>
                              <p:cNvSpPr/>
                              <p:nvPr/>
                            </p:nvSpPr>
                            <p:spPr>
                              <a:xfrm>
                                <a:off x="3947909" y="1882569"/>
                                <a:ext cx="1362984" cy="277201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FFD98F"/>
                                  </a:gs>
                                  <a:gs pos="57000">
                                    <a:srgbClr val="DF8A14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A54A24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</p:grpSp>
                        <p:grpSp>
                          <p:nvGrpSpPr>
                            <p:cNvPr id="120" name="Group 119"/>
                            <p:cNvGrpSpPr/>
                            <p:nvPr/>
                          </p:nvGrpSpPr>
                          <p:grpSpPr>
                            <a:xfrm>
                              <a:off x="5312794" y="3468088"/>
                              <a:ext cx="261736" cy="572722"/>
                              <a:chOff x="4389120" y="1582309"/>
                              <a:chExt cx="261736" cy="572722"/>
                            </a:xfrm>
                          </p:grpSpPr>
                          <p:sp>
                            <p:nvSpPr>
                              <p:cNvPr id="121" name="Rectangle 120"/>
                              <p:cNvSpPr/>
                              <p:nvPr/>
                            </p:nvSpPr>
                            <p:spPr>
                              <a:xfrm>
                                <a:off x="4389120" y="1582309"/>
                                <a:ext cx="261736" cy="277200"/>
                              </a:xfrm>
                              <a:prstGeom prst="rect">
                                <a:avLst/>
                              </a:prstGeom>
                              <a:gradFill>
                                <a:gsLst>
                                  <a:gs pos="0">
                                    <a:srgbClr val="EC9617"/>
                                  </a:gs>
                                  <a:gs pos="58000">
                                    <a:srgbClr val="8C2E00"/>
                                  </a:gs>
                                </a:gsLst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solidFill>
                                      <a:srgbClr val="F39325"/>
                                    </a:solidFill>
                                  </a:ln>
                                  <a:solidFill>
                                    <a:srgbClr val="F39325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2" name="Rectangle 121"/>
                              <p:cNvSpPr/>
                              <p:nvPr/>
                            </p:nvSpPr>
                            <p:spPr>
                              <a:xfrm>
                                <a:off x="4389927" y="1877831"/>
                                <a:ext cx="101903" cy="277200"/>
                              </a:xfrm>
                              <a:prstGeom prst="rect">
                                <a:avLst/>
                              </a:prstGeom>
                              <a:gradFill flip="none" rotWithShape="1">
                                <a:gsLst>
                                  <a:gs pos="0">
                                    <a:srgbClr val="FFD98F"/>
                                  </a:gs>
                                  <a:gs pos="57000">
                                    <a:srgbClr val="DF8A14"/>
                                  </a:gs>
                                </a:gsLst>
                                <a:path path="circle">
                                  <a:fillToRect l="100000" b="100000"/>
                                </a:path>
                                <a:tileRect t="-100000" r="-100000"/>
                              </a:gradFill>
                              <a:ln w="19050">
                                <a:noFill/>
                              </a:ln>
                              <a:effectLst/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457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en-GB" sz="14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A54A24"/>
                                  </a:solidFill>
                                  <a:effectLst/>
                                  <a:uLnTx/>
                                  <a:uFillTx/>
                                  <a:latin typeface="TradeGothic LT CondEighteen" panose="02000606020000020004" pitchFamily="2" charset="0"/>
                                </a:endParaRPr>
                              </a:p>
                            </p:txBody>
                          </p:sp>
                        </p:grpSp>
                      </p:grpSp>
                    </p:grpSp>
                    <p:sp>
                      <p:nvSpPr>
                        <p:cNvPr id="113" name="TextBox 112"/>
                        <p:cNvSpPr txBox="1"/>
                        <p:nvPr/>
                      </p:nvSpPr>
                      <p:spPr>
                        <a:xfrm rot="16200000">
                          <a:off x="4605777" y="2978918"/>
                          <a:ext cx="2511063" cy="347542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marL="0" marR="0" lvl="0" indent="0" algn="ctr" defTabSz="457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GB" sz="1200" b="1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>
                                  <a:lumMod val="75000"/>
                                  <a:lumOff val="25000"/>
                                </a:srgbClr>
                              </a:solidFill>
                              <a:effectLst/>
                              <a:uLnTx/>
                              <a:uFillTx/>
                              <a:latin typeface="TradeGothic LT CondEighteen" panose="02000606020000020004" pitchFamily="2" charset="0"/>
                            </a:rPr>
                            <a:t>Blood lipid profile</a:t>
                          </a:r>
                        </a:p>
                      </p:txBody>
                    </p:sp>
                  </p:grpSp>
                  <p:grpSp>
                    <p:nvGrpSpPr>
                      <p:cNvPr id="106" name="Group 105"/>
                      <p:cNvGrpSpPr/>
                      <p:nvPr/>
                    </p:nvGrpSpPr>
                    <p:grpSpPr>
                      <a:xfrm>
                        <a:off x="6802776" y="1861200"/>
                        <a:ext cx="76305" cy="2504146"/>
                        <a:chOff x="2214014" y="1860601"/>
                        <a:chExt cx="76305" cy="2504146"/>
                      </a:xfrm>
                    </p:grpSpPr>
                    <p:cxnSp>
                      <p:nvCxnSpPr>
                        <p:cNvPr id="107" name="Straight Connector 106"/>
                        <p:cNvCxnSpPr/>
                        <p:nvPr/>
                      </p:nvCxnSpPr>
                      <p:spPr>
                        <a:xfrm>
                          <a:off x="2216993" y="1860601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08" name="Straight Connector 107"/>
                        <p:cNvCxnSpPr/>
                        <p:nvPr/>
                      </p:nvCxnSpPr>
                      <p:spPr>
                        <a:xfrm>
                          <a:off x="2218319" y="2490080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09" name="Straight Connector 108"/>
                        <p:cNvCxnSpPr/>
                        <p:nvPr/>
                      </p:nvCxnSpPr>
                      <p:spPr>
                        <a:xfrm>
                          <a:off x="2217002" y="3121630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10" name="Straight Connector 109"/>
                        <p:cNvCxnSpPr/>
                        <p:nvPr/>
                      </p:nvCxnSpPr>
                      <p:spPr>
                        <a:xfrm>
                          <a:off x="2214014" y="3740194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11" name="Straight Connector 110"/>
                        <p:cNvCxnSpPr/>
                        <p:nvPr/>
                      </p:nvCxnSpPr>
                      <p:spPr>
                        <a:xfrm>
                          <a:off x="2216991" y="4364747"/>
                          <a:ext cx="72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bg2">
                              <a:lumMod val="7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grpSp>
                  <p:nvGrpSpPr>
                    <p:cNvPr id="100" name="Group 99"/>
                    <p:cNvGrpSpPr/>
                    <p:nvPr/>
                  </p:nvGrpSpPr>
                  <p:grpSpPr>
                    <a:xfrm>
                      <a:off x="7425103" y="4729530"/>
                      <a:ext cx="2524427" cy="73467"/>
                      <a:chOff x="2995323" y="4730400"/>
                      <a:chExt cx="2524427" cy="73467"/>
                    </a:xfrm>
                  </p:grpSpPr>
                  <p:cxnSp>
                    <p:nvCxnSpPr>
                      <p:cNvPr id="101" name="Straight Connector 100"/>
                      <p:cNvCxnSpPr/>
                      <p:nvPr/>
                    </p:nvCxnSpPr>
                    <p:spPr>
                      <a:xfrm rot="5400000">
                        <a:off x="2959323" y="4767867"/>
                        <a:ext cx="72000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2">
                            <a:lumMod val="7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02" name="Straight Connector 101"/>
                      <p:cNvCxnSpPr/>
                      <p:nvPr/>
                    </p:nvCxnSpPr>
                    <p:spPr>
                      <a:xfrm rot="5400000">
                        <a:off x="3797519" y="4766400"/>
                        <a:ext cx="72000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2">
                            <a:lumMod val="7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03" name="Straight Connector 102"/>
                      <p:cNvCxnSpPr/>
                      <p:nvPr/>
                    </p:nvCxnSpPr>
                    <p:spPr>
                      <a:xfrm rot="5400000">
                        <a:off x="4645550" y="4766400"/>
                        <a:ext cx="72000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2">
                            <a:lumMod val="7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04" name="Straight Connector 103"/>
                      <p:cNvCxnSpPr/>
                      <p:nvPr/>
                    </p:nvCxnSpPr>
                    <p:spPr>
                      <a:xfrm rot="5400000">
                        <a:off x="5483750" y="4766400"/>
                        <a:ext cx="72000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2">
                            <a:lumMod val="7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92" name="Group 91"/>
                  <p:cNvGrpSpPr/>
                  <p:nvPr/>
                </p:nvGrpSpPr>
                <p:grpSpPr>
                  <a:xfrm>
                    <a:off x="7196927" y="4795200"/>
                    <a:ext cx="2986070" cy="213183"/>
                    <a:chOff x="2650712" y="4793634"/>
                    <a:chExt cx="2986070" cy="213183"/>
                  </a:xfrm>
                </p:grpSpPr>
                <p:sp>
                  <p:nvSpPr>
                    <p:cNvPr id="93" name="TextBox 92"/>
                    <p:cNvSpPr txBox="1"/>
                    <p:nvPr/>
                  </p:nvSpPr>
                  <p:spPr>
                    <a:xfrm>
                      <a:off x="2650712" y="4794431"/>
                      <a:ext cx="468000" cy="21238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-1.5</a:t>
                      </a:r>
                    </a:p>
                  </p:txBody>
                </p:sp>
                <p:sp>
                  <p:nvSpPr>
                    <p:cNvPr id="94" name="TextBox 93"/>
                    <p:cNvSpPr txBox="1"/>
                    <p:nvPr/>
                  </p:nvSpPr>
                  <p:spPr>
                    <a:xfrm>
                      <a:off x="3488909" y="4793634"/>
                      <a:ext cx="468000" cy="21238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-1.0</a:t>
                      </a:r>
                    </a:p>
                  </p:txBody>
                </p:sp>
                <p:sp>
                  <p:nvSpPr>
                    <p:cNvPr id="95" name="TextBox 94"/>
                    <p:cNvSpPr txBox="1"/>
                    <p:nvPr/>
                  </p:nvSpPr>
                  <p:spPr>
                    <a:xfrm>
                      <a:off x="4336795" y="4793634"/>
                      <a:ext cx="468000" cy="21238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-0. 5</a:t>
                      </a:r>
                    </a:p>
                  </p:txBody>
                </p:sp>
                <p:sp>
                  <p:nvSpPr>
                    <p:cNvPr id="96" name="TextBox 95"/>
                    <p:cNvSpPr txBox="1"/>
                    <p:nvPr/>
                  </p:nvSpPr>
                  <p:spPr>
                    <a:xfrm>
                      <a:off x="5168782" y="4793634"/>
                      <a:ext cx="468000" cy="21238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TradeGothic LT CondEighteen" panose="02000606020000020004" pitchFamily="2" charset="0"/>
                        </a:rPr>
                        <a:t>0.0</a:t>
                      </a:r>
                    </a:p>
                  </p:txBody>
                </p:sp>
              </p:grpSp>
            </p:grpSp>
            <p:sp>
              <p:nvSpPr>
                <p:cNvPr id="90" name="TextBox 89"/>
                <p:cNvSpPr txBox="1"/>
                <p:nvPr/>
              </p:nvSpPr>
              <p:spPr>
                <a:xfrm>
                  <a:off x="6883200" y="5000159"/>
                  <a:ext cx="3538728" cy="43520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</a:rPr>
                    <a:t>Mean concentration change</a:t>
                  </a:r>
                </a:p>
              </p:txBody>
            </p:sp>
          </p:grpSp>
          <p:grpSp>
            <p:nvGrpSpPr>
              <p:cNvPr id="84" name="Group 83"/>
              <p:cNvGrpSpPr/>
              <p:nvPr/>
            </p:nvGrpSpPr>
            <p:grpSpPr>
              <a:xfrm>
                <a:off x="6861702" y="5416465"/>
                <a:ext cx="4690396" cy="376539"/>
                <a:chOff x="1157620" y="5268865"/>
                <a:chExt cx="4690396" cy="376539"/>
              </a:xfrm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B341357A-1C93-4D17-A300-5C309BF3CDC7}"/>
                    </a:ext>
                  </a:extLst>
                </p:cNvPr>
                <p:cNvSpPr/>
                <p:nvPr/>
              </p:nvSpPr>
              <p:spPr>
                <a:xfrm>
                  <a:off x="4377241" y="5371804"/>
                  <a:ext cx="182563" cy="184151"/>
                </a:xfrm>
                <a:prstGeom prst="rect">
                  <a:avLst/>
                </a:prstGeom>
                <a:gradFill>
                  <a:gsLst>
                    <a:gs pos="0">
                      <a:srgbClr val="FFD98F"/>
                    </a:gs>
                    <a:gs pos="57000">
                      <a:srgbClr val="DF8A14"/>
                    </a:gs>
                  </a:gsLst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93542FE2-0AEF-4EBD-8E9B-A6EA8C972288}"/>
                    </a:ext>
                  </a:extLst>
                </p:cNvPr>
                <p:cNvSpPr/>
                <p:nvPr/>
              </p:nvSpPr>
              <p:spPr>
                <a:xfrm>
                  <a:off x="1157620" y="5371804"/>
                  <a:ext cx="182562" cy="184151"/>
                </a:xfrm>
                <a:prstGeom prst="rect">
                  <a:avLst/>
                </a:prstGeom>
                <a:gradFill>
                  <a:gsLst>
                    <a:gs pos="0">
                      <a:srgbClr val="EC9617"/>
                    </a:gs>
                    <a:gs pos="58000">
                      <a:srgbClr val="8C2E00"/>
                    </a:gs>
                  </a:gsLst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39325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  <p:sp>
              <p:nvSpPr>
                <p:cNvPr id="87" name="Rectangle 21">
                  <a:extLst>
                    <a:ext uri="{FF2B5EF4-FFF2-40B4-BE49-F238E27FC236}">
                      <a16:creationId xmlns:a16="http://schemas.microsoft.com/office/drawing/2014/main" id="{8F38E725-DA12-443D-ADA1-EEDBA5B24E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9180" y="5270082"/>
                  <a:ext cx="2435602" cy="3753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 defTabSz="457200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altLang="ru-RU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EPL + </a:t>
                  </a:r>
                  <a:r>
                    <a:rPr kumimoji="0" lang="en-US" altLang="ru-RU" sz="105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hypolipidemic</a:t>
                  </a:r>
                  <a:r>
                    <a:rPr kumimoji="0" lang="en-US" altLang="ru-RU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 treatment (n=766)</a:t>
                  </a:r>
                  <a:endParaRPr kumimoji="0" lang="ru-RU" altLang="ru-RU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Rectangle 22">
                  <a:extLst>
                    <a:ext uri="{FF2B5EF4-FFF2-40B4-BE49-F238E27FC236}">
                      <a16:creationId xmlns:a16="http://schemas.microsoft.com/office/drawing/2014/main" id="{D1AE8945-094D-4FAD-80FE-B5D7AB6C10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1499" y="5268865"/>
                  <a:ext cx="1296517" cy="30880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 defTabSz="457200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4572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4572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altLang="ru-RU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EPL</a:t>
                  </a:r>
                  <a:r>
                    <a:rPr kumimoji="0" lang="ru-RU" altLang="ru-RU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cs typeface="Arial" panose="020B0604020202020204" pitchFamily="34" charset="0"/>
                    </a:rPr>
                    <a:t> </a:t>
                  </a:r>
                  <a:r>
                    <a:rPr kumimoji="0" lang="en-US" altLang="ru-RU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TradeGothic LT CondEighteen" panose="02000606020000020004" pitchFamily="2" charset="0"/>
                      <a:cs typeface="Arial" panose="020B0604020202020204" pitchFamily="34" charset="0"/>
                    </a:rPr>
                    <a:t>only (n=2077)</a:t>
                  </a:r>
                  <a:endParaRPr kumimoji="0" lang="ru-RU" altLang="ru-RU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33" name="Group 132"/>
            <p:cNvGrpSpPr/>
            <p:nvPr/>
          </p:nvGrpSpPr>
          <p:grpSpPr>
            <a:xfrm>
              <a:off x="2228552" y="1892542"/>
              <a:ext cx="3448520" cy="2830003"/>
              <a:chOff x="2228552" y="1822276"/>
              <a:chExt cx="3448520" cy="2830003"/>
            </a:xfrm>
          </p:grpSpPr>
          <p:sp>
            <p:nvSpPr>
              <p:cNvPr id="134" name="TextBox 133"/>
              <p:cNvSpPr txBox="1"/>
              <p:nvPr/>
            </p:nvSpPr>
            <p:spPr>
              <a:xfrm>
                <a:off x="3609244" y="1822276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29</a:t>
                </a:r>
              </a:p>
            </p:txBody>
          </p:sp>
          <p:sp>
            <p:nvSpPr>
              <p:cNvPr id="135" name="TextBox 134"/>
              <p:cNvSpPr txBox="1"/>
              <p:nvPr/>
            </p:nvSpPr>
            <p:spPr>
              <a:xfrm>
                <a:off x="4056614" y="2100036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14</a:t>
                </a:r>
              </a:p>
            </p:txBody>
          </p:sp>
          <p:sp>
            <p:nvSpPr>
              <p:cNvPr id="136" name="TextBox 135"/>
              <p:cNvSpPr txBox="1"/>
              <p:nvPr/>
            </p:nvSpPr>
            <p:spPr>
              <a:xfrm>
                <a:off x="3276963" y="2408399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42</a:t>
                </a:r>
              </a:p>
            </p:txBody>
          </p:sp>
          <p:sp>
            <p:nvSpPr>
              <p:cNvPr id="137" name="TextBox 136"/>
              <p:cNvSpPr txBox="1"/>
              <p:nvPr/>
            </p:nvSpPr>
            <p:spPr>
              <a:xfrm>
                <a:off x="3920141" y="2688257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19</a:t>
                </a:r>
              </a:p>
            </p:txBody>
          </p:sp>
          <p:sp>
            <p:nvSpPr>
              <p:cNvPr id="138" name="TextBox 137"/>
              <p:cNvSpPr txBox="1"/>
              <p:nvPr/>
            </p:nvSpPr>
            <p:spPr>
              <a:xfrm>
                <a:off x="2228552" y="3004337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77</a:t>
                </a:r>
              </a:p>
            </p:txBody>
          </p:sp>
          <p:sp>
            <p:nvSpPr>
              <p:cNvPr id="139" name="TextBox 138"/>
              <p:cNvSpPr txBox="1"/>
              <p:nvPr/>
            </p:nvSpPr>
            <p:spPr>
              <a:xfrm>
                <a:off x="3245436" y="3282036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42</a:t>
                </a:r>
              </a:p>
            </p:txBody>
          </p:sp>
          <p:sp>
            <p:nvSpPr>
              <p:cNvPr id="140" name="TextBox 139"/>
              <p:cNvSpPr txBox="1"/>
              <p:nvPr/>
            </p:nvSpPr>
            <p:spPr>
              <a:xfrm>
                <a:off x="5236774" y="3596754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0.11</a:t>
                </a:r>
              </a:p>
            </p:txBody>
          </p:sp>
          <p:sp>
            <p:nvSpPr>
              <p:cNvPr id="141" name="TextBox 140"/>
              <p:cNvSpPr txBox="1"/>
              <p:nvPr/>
            </p:nvSpPr>
            <p:spPr>
              <a:xfrm>
                <a:off x="5061492" y="3889453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0.05</a:t>
                </a:r>
              </a:p>
            </p:txBody>
          </p:sp>
          <p:sp>
            <p:nvSpPr>
              <p:cNvPr id="142" name="TextBox 141"/>
              <p:cNvSpPr txBox="1"/>
              <p:nvPr/>
            </p:nvSpPr>
            <p:spPr>
              <a:xfrm>
                <a:off x="2237251" y="4143762"/>
                <a:ext cx="440298" cy="2388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93</a:t>
                </a:r>
              </a:p>
            </p:txBody>
          </p:sp>
          <p:sp>
            <p:nvSpPr>
              <p:cNvPr id="143" name="TextBox 142"/>
              <p:cNvSpPr txBox="1"/>
              <p:nvPr/>
            </p:nvSpPr>
            <p:spPr>
              <a:xfrm>
                <a:off x="3504608" y="4461548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33</a:t>
                </a:r>
              </a:p>
            </p:txBody>
          </p:sp>
        </p:grpSp>
        <p:grpSp>
          <p:nvGrpSpPr>
            <p:cNvPr id="144" name="Group 143"/>
            <p:cNvGrpSpPr/>
            <p:nvPr/>
          </p:nvGrpSpPr>
          <p:grpSpPr>
            <a:xfrm>
              <a:off x="7915230" y="1891866"/>
              <a:ext cx="3437513" cy="2830003"/>
              <a:chOff x="2003587" y="1822276"/>
              <a:chExt cx="3437513" cy="2830003"/>
            </a:xfrm>
          </p:grpSpPr>
          <p:sp>
            <p:nvSpPr>
              <p:cNvPr id="145" name="TextBox 144"/>
              <p:cNvSpPr txBox="1"/>
              <p:nvPr/>
            </p:nvSpPr>
            <p:spPr>
              <a:xfrm>
                <a:off x="3609244" y="1822276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43</a:t>
                </a:r>
              </a:p>
            </p:txBody>
          </p:sp>
          <p:sp>
            <p:nvSpPr>
              <p:cNvPr id="146" name="TextBox 145"/>
              <p:cNvSpPr txBox="1"/>
              <p:nvPr/>
            </p:nvSpPr>
            <p:spPr>
              <a:xfrm>
                <a:off x="3968126" y="2100036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22</a:t>
                </a:r>
              </a:p>
            </p:txBody>
          </p:sp>
          <p:sp>
            <p:nvSpPr>
              <p:cNvPr id="147" name="TextBox 146"/>
              <p:cNvSpPr txBox="1"/>
              <p:nvPr/>
            </p:nvSpPr>
            <p:spPr>
              <a:xfrm>
                <a:off x="3247467" y="2408399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66</a:t>
                </a:r>
              </a:p>
            </p:txBody>
          </p:sp>
          <p:sp>
            <p:nvSpPr>
              <p:cNvPr id="148" name="TextBox 147"/>
              <p:cNvSpPr txBox="1"/>
              <p:nvPr/>
            </p:nvSpPr>
            <p:spPr>
              <a:xfrm>
                <a:off x="3698917" y="2688257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38</a:t>
                </a:r>
              </a:p>
            </p:txBody>
          </p:sp>
          <p:sp>
            <p:nvSpPr>
              <p:cNvPr id="149" name="TextBox 148"/>
              <p:cNvSpPr txBox="1"/>
              <p:nvPr/>
            </p:nvSpPr>
            <p:spPr>
              <a:xfrm>
                <a:off x="2420279" y="3004337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1.19</a:t>
                </a:r>
              </a:p>
            </p:txBody>
          </p:sp>
          <p:sp>
            <p:nvSpPr>
              <p:cNvPr id="150" name="TextBox 149"/>
              <p:cNvSpPr txBox="1"/>
              <p:nvPr/>
            </p:nvSpPr>
            <p:spPr>
              <a:xfrm>
                <a:off x="3230688" y="3282036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68</a:t>
                </a:r>
              </a:p>
            </p:txBody>
          </p:sp>
          <p:sp>
            <p:nvSpPr>
              <p:cNvPr id="151" name="TextBox 150"/>
              <p:cNvSpPr txBox="1"/>
              <p:nvPr/>
            </p:nvSpPr>
            <p:spPr>
              <a:xfrm>
                <a:off x="5000802" y="3596754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0.16</a:t>
                </a:r>
              </a:p>
            </p:txBody>
          </p:sp>
          <p:sp>
            <p:nvSpPr>
              <p:cNvPr id="152" name="TextBox 151"/>
              <p:cNvSpPr txBox="1"/>
              <p:nvPr/>
            </p:nvSpPr>
            <p:spPr>
              <a:xfrm>
                <a:off x="4862394" y="3889453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0.07</a:t>
                </a:r>
              </a:p>
            </p:txBody>
          </p:sp>
          <p:sp>
            <p:nvSpPr>
              <p:cNvPr id="153" name="TextBox 152"/>
              <p:cNvSpPr txBox="1"/>
              <p:nvPr/>
            </p:nvSpPr>
            <p:spPr>
              <a:xfrm>
                <a:off x="2003587" y="4155946"/>
                <a:ext cx="440298" cy="2388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1.73</a:t>
                </a: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3003169" y="4461548"/>
                <a:ext cx="440298" cy="1907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adeGothic LT CondEighteen" panose="02000606020000020004" pitchFamily="2" charset="0"/>
                  </a:rPr>
                  <a:t>-0.81</a:t>
                </a:r>
              </a:p>
            </p:txBody>
          </p:sp>
        </p:grpSp>
      </p:grpSp>
      <p:sp>
        <p:nvSpPr>
          <p:cNvPr id="158" name="Content Placeholder 13">
            <a:extLst>
              <a:ext uri="{FF2B5EF4-FFF2-40B4-BE49-F238E27FC236}">
                <a16:creationId xmlns:a16="http://schemas.microsoft.com/office/drawing/2014/main" id="{4A8978E5-F348-45E5-AAB0-0A5004A83179}"/>
              </a:ext>
            </a:extLst>
          </p:cNvPr>
          <p:cNvSpPr txBox="1">
            <a:spLocks/>
          </p:cNvSpPr>
          <p:nvPr/>
        </p:nvSpPr>
        <p:spPr>
          <a:xfrm>
            <a:off x="1605226" y="6302355"/>
            <a:ext cx="9964737" cy="461184"/>
          </a:xfrm>
          <a:prstGeom prst="rect">
            <a:avLst/>
          </a:prstGeom>
          <a:noFill/>
        </p:spPr>
        <p:txBody>
          <a:bodyPr vert="horz" lIns="0" tIns="72000" rIns="0" bIns="7200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6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58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6"/>
              </a:buBlip>
              <a:tabLst>
                <a:tab pos="13477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6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PL, essential phospholipids; HDL, high-density lipoprotein; LDL, low-density lipoprotein; TG, triglycerides; VLDL; very-low-density-lipoprotein.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aev IV, </a:t>
            </a:r>
            <a:r>
              <a:rPr kumimoji="0" lang="en-US" altLang="ru-RU" sz="10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et al. 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MJ Open Gastro 2020;7:e000368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4F9D7329-2D50-C92B-D740-9A6DC7BE90C1}"/>
              </a:ext>
            </a:extLst>
          </p:cNvPr>
          <p:cNvSpPr txBox="1">
            <a:spLocks/>
          </p:cNvSpPr>
          <p:nvPr/>
        </p:nvSpPr>
        <p:spPr>
          <a:xfrm>
            <a:off x="593857" y="1975396"/>
            <a:ext cx="9360000" cy="4585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bg1"/>
                </a:solidFill>
                <a:latin typeface="Trade Gothic Bold No. 2" pitchFamily="2" charset="0"/>
                <a:ea typeface="+mj-ea"/>
                <a:cs typeface="+mj-cs"/>
              </a:defRPr>
            </a:lvl1pPr>
          </a:lstStyle>
          <a:p>
            <a:endParaRPr lang="en-GB" sz="2400" dirty="0">
              <a:solidFill>
                <a:schemeClr val="accent2"/>
              </a:solidFill>
              <a:latin typeface="TradeGothic LT CondEighteen" panose="02000606020000020004" pitchFamily="2" charset="0"/>
              <a:ea typeface="Verdana" panose="020B060403050404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18277F6-F475-3EC1-BD18-34AB1B4C338E}"/>
              </a:ext>
            </a:extLst>
          </p:cNvPr>
          <p:cNvSpPr txBox="1"/>
          <p:nvPr/>
        </p:nvSpPr>
        <p:spPr>
          <a:xfrm>
            <a:off x="1970581" y="5225952"/>
            <a:ext cx="8811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DF8A14"/>
                </a:solidFill>
                <a:latin typeface="TradeGothic LT CondEighteen" panose="02000606020000020004" pitchFamily="2" charset="0"/>
              </a:rPr>
              <a:t>Significant improvement of lipid profile in patients receiving EPL + hypolipidemic treatment </a:t>
            </a:r>
            <a:br>
              <a:rPr lang="en-US" sz="1600" b="1" dirty="0">
                <a:solidFill>
                  <a:srgbClr val="DF8A14"/>
                </a:solidFill>
                <a:latin typeface="TradeGothic LT CondEighteen" panose="02000606020000020004" pitchFamily="2" charset="0"/>
              </a:rPr>
            </a:br>
            <a:r>
              <a:rPr lang="en-US" sz="1600" b="1" dirty="0">
                <a:solidFill>
                  <a:srgbClr val="DF8A14"/>
                </a:solidFill>
                <a:latin typeface="TradeGothic LT CondEighteen" panose="02000606020000020004" pitchFamily="2" charset="0"/>
              </a:rPr>
              <a:t>and EPL alone (p&lt;0.05) was seen after 3 months of treatment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4ADFA74B-7F05-FB29-94E5-37DC46B11C50}"/>
              </a:ext>
            </a:extLst>
          </p:cNvPr>
          <p:cNvCxnSpPr>
            <a:cxnSpLocks/>
          </p:cNvCxnSpPr>
          <p:nvPr/>
        </p:nvCxnSpPr>
        <p:spPr>
          <a:xfrm>
            <a:off x="1403481" y="5164793"/>
            <a:ext cx="9282448" cy="0"/>
          </a:xfrm>
          <a:prstGeom prst="line">
            <a:avLst/>
          </a:prstGeom>
          <a:ln w="15875" cap="rnd">
            <a:solidFill>
              <a:srgbClr val="F5A31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B580D94-C37B-046A-0FB2-D30931C91E6A}"/>
              </a:ext>
            </a:extLst>
          </p:cNvPr>
          <p:cNvCxnSpPr>
            <a:cxnSpLocks/>
          </p:cNvCxnSpPr>
          <p:nvPr/>
        </p:nvCxnSpPr>
        <p:spPr>
          <a:xfrm>
            <a:off x="1403481" y="5987627"/>
            <a:ext cx="9282448" cy="0"/>
          </a:xfrm>
          <a:prstGeom prst="line">
            <a:avLst/>
          </a:prstGeom>
          <a:ln w="15875" cap="rnd">
            <a:solidFill>
              <a:srgbClr val="F5A31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7">
            <a:extLst>
              <a:ext uri="{FF2B5EF4-FFF2-40B4-BE49-F238E27FC236}">
                <a16:creationId xmlns:a16="http://schemas.microsoft.com/office/drawing/2014/main" id="{80FB4ABD-E142-8CDA-C8B0-3B232ACD334D}"/>
              </a:ext>
            </a:extLst>
          </p:cNvPr>
          <p:cNvSpPr txBox="1"/>
          <p:nvPr/>
        </p:nvSpPr>
        <p:spPr>
          <a:xfrm>
            <a:off x="543613" y="1418828"/>
            <a:ext cx="111047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i="0" u="none" strike="noStrike" kern="1200" cap="none" spc="0" normalizeH="0" baseline="0" noProof="0" dirty="0">
                <a:ln>
                  <a:noFill/>
                </a:ln>
                <a:solidFill>
                  <a:srgbClr val="582213"/>
                </a:solidFill>
                <a:effectLst/>
                <a:uLnTx/>
                <a:uFillTx/>
                <a:latin typeface="TradeGothic LT CondEighteen" panose="02000606020000020004" pitchFamily="2" charset="0"/>
                <a:ea typeface="+mj-ea"/>
                <a:cs typeface="+mj-cs"/>
              </a:rPr>
              <a:t>In an observational, multicentre, prospective trial (MANPOWER) </a:t>
            </a:r>
            <a:r>
              <a:rPr lang="en-US" altLang="ru-RU" dirty="0">
                <a:solidFill>
                  <a:srgbClr val="582213"/>
                </a:solidFill>
                <a:latin typeface="TradeGothic LT CondEighteen" panose="02000606020000020004" pitchFamily="2" charset="0"/>
                <a:ea typeface="Verdana" panose="020B0604030504040204" pitchFamily="34" charset="0"/>
                <a:cs typeface="+mj-cs"/>
              </a:rPr>
              <a:t>with patients with NAFLD and cardiometabolic comorbidities*, N=2843</a:t>
            </a:r>
            <a:endParaRPr lang="en-GB" dirty="0">
              <a:solidFill>
                <a:srgbClr val="582213"/>
              </a:solidFill>
              <a:latin typeface="TradeGothic LT CondEighteen" panose="02000606020000020004" pitchFamily="2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B1EA47-447F-528C-DD55-5F7314F42026}"/>
              </a:ext>
            </a:extLst>
          </p:cNvPr>
          <p:cNvSpPr txBox="1">
            <a:spLocks/>
          </p:cNvSpPr>
          <p:nvPr/>
        </p:nvSpPr>
        <p:spPr>
          <a:xfrm>
            <a:off x="384417" y="133201"/>
            <a:ext cx="11362660" cy="82484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Effects of EPLs on blood lipid level show improvements in patients with NAFLD and cardiometabolic comorbidities</a:t>
            </a:r>
          </a:p>
        </p:txBody>
      </p:sp>
    </p:spTree>
    <p:extLst>
      <p:ext uri="{BB962C8B-B14F-4D97-AF65-F5344CB8AC3E}">
        <p14:creationId xmlns:p14="http://schemas.microsoft.com/office/powerpoint/2010/main" val="25252003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12BC486-4185-4F31-80EE-3215629F0B74}"/>
              </a:ext>
            </a:extLst>
          </p:cNvPr>
          <p:cNvSpPr txBox="1">
            <a:spLocks/>
          </p:cNvSpPr>
          <p:nvPr/>
        </p:nvSpPr>
        <p:spPr>
          <a:xfrm>
            <a:off x="529840" y="5697538"/>
            <a:ext cx="11145600" cy="333375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972DF7-6248-47E4-8153-6E61FBE31E64}"/>
              </a:ext>
            </a:extLst>
          </p:cNvPr>
          <p:cNvGrpSpPr/>
          <p:nvPr/>
        </p:nvGrpSpPr>
        <p:grpSpPr>
          <a:xfrm>
            <a:off x="609136" y="1639341"/>
            <a:ext cx="11053024" cy="1012567"/>
            <a:chOff x="609136" y="1912991"/>
            <a:chExt cx="11053024" cy="1012567"/>
          </a:xfrm>
        </p:grpSpPr>
        <p:sp>
          <p:nvSpPr>
            <p:cNvPr id="6" name="Rounded Rectangle 7">
              <a:extLst>
                <a:ext uri="{FF2B5EF4-FFF2-40B4-BE49-F238E27FC236}">
                  <a16:creationId xmlns:a16="http://schemas.microsoft.com/office/drawing/2014/main" id="{6CE6105B-E5D4-4EA1-B0ED-43A82E612282}"/>
                </a:ext>
              </a:extLst>
            </p:cNvPr>
            <p:cNvSpPr/>
            <p:nvPr/>
          </p:nvSpPr>
          <p:spPr>
            <a:xfrm>
              <a:off x="1690160" y="1912991"/>
              <a:ext cx="9972000" cy="1012567"/>
            </a:xfrm>
            <a:prstGeom prst="roundRect">
              <a:avLst>
                <a:gd name="adj" fmla="val 15018"/>
              </a:avLst>
            </a:prstGeom>
            <a:solidFill>
              <a:schemeClr val="bg1"/>
            </a:solidFill>
            <a:ln w="19050">
              <a:solidFill>
                <a:srgbClr val="ED7D3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en-GB" sz="18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  <a:p>
              <a:pPr algn="just"/>
              <a:endParaRPr lang="en-GB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  <a:p>
              <a:pPr algn="just"/>
              <a:r>
                <a:rPr lang="en-GB" sz="1800" dirty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anose="02020603050405020304" pitchFamily="18" charset="0"/>
                </a:rPr>
                <a:t>MAFLD is considered as the hepatic component of metabolic syndrome and is recognised as part of the multi-system disease </a:t>
              </a:r>
              <a:r>
                <a:rPr lang="en-GB" sz="1800" dirty="0">
                  <a:latin typeface="Century Gothic" panose="020B0502020202020204" pitchFamily="34" charset="0"/>
                  <a:cs typeface="Times New Roman" panose="02020603050405020304" pitchFamily="18" charset="0"/>
                </a:rPr>
                <a:t>of the multi-system  disease </a:t>
              </a:r>
              <a:r>
                <a:rPr lang="ro-RO" sz="1800" dirty="0">
                  <a:latin typeface="Century Gothic" panose="020B0502020202020204" pitchFamily="34" charset="0"/>
                  <a:cs typeface="Times New Roman" panose="02020603050405020304" pitchFamily="18" charset="0"/>
                </a:rPr>
                <a:t>nsidered as the hepatic component of metabolic syndrome</a:t>
              </a:r>
            </a:p>
            <a:p>
              <a:pPr marL="0" marR="0" lvl="0" indent="0" algn="l" defTabSz="914400" rtl="0" eaLnBrk="1" fontAlgn="auto" latinLnBrk="0" hangingPunct="1">
                <a:lnSpc>
                  <a:spcPts val="26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7E952A43-7F8C-48F2-98C4-252D7B8DC4FC}"/>
                </a:ext>
              </a:extLst>
            </p:cNvPr>
            <p:cNvSpPr/>
            <p:nvPr/>
          </p:nvSpPr>
          <p:spPr>
            <a:xfrm rot="16200000">
              <a:off x="1515408" y="2220885"/>
              <a:ext cx="0" cy="320000"/>
            </a:xfrm>
            <a:custGeom>
              <a:avLst/>
              <a:gdLst>
                <a:gd name="connsiteX0" fmla="*/ 0 w 0"/>
                <a:gd name="connsiteY0" fmla="*/ 0 h 868680"/>
                <a:gd name="connsiteX1" fmla="*/ 0 w 0"/>
                <a:gd name="connsiteY1" fmla="*/ 868680 h 868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868680">
                  <a:moveTo>
                    <a:pt x="0" y="0"/>
                  </a:moveTo>
                  <a:lnTo>
                    <a:pt x="0" y="868680"/>
                  </a:lnTo>
                </a:path>
              </a:pathLst>
            </a:custGeom>
            <a:noFill/>
            <a:ln w="19050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62E5609-75DE-404C-81D8-8E926EA03F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9136" y="2011125"/>
              <a:ext cx="731520" cy="731520"/>
            </a:xfrm>
            <a:prstGeom prst="ellipse">
              <a:avLst/>
            </a:prstGeom>
            <a:solidFill>
              <a:srgbClr val="ED7D31"/>
            </a:solidFill>
            <a:ln w="28575">
              <a:solidFill>
                <a:srgbClr val="ED7D3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556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62ECECB-0435-4DD2-876A-81B34014C180}"/>
              </a:ext>
            </a:extLst>
          </p:cNvPr>
          <p:cNvGrpSpPr/>
          <p:nvPr/>
        </p:nvGrpSpPr>
        <p:grpSpPr>
          <a:xfrm>
            <a:off x="609136" y="2974112"/>
            <a:ext cx="11036772" cy="1418018"/>
            <a:chOff x="790880" y="2172922"/>
            <a:chExt cx="11036772" cy="720725"/>
          </a:xfrm>
        </p:grpSpPr>
        <p:sp>
          <p:nvSpPr>
            <p:cNvPr id="10" name="Rounded Rectangle 7">
              <a:extLst>
                <a:ext uri="{FF2B5EF4-FFF2-40B4-BE49-F238E27FC236}">
                  <a16:creationId xmlns:a16="http://schemas.microsoft.com/office/drawing/2014/main" id="{BAC8E6B2-33D4-45C9-806E-48E3C04C5011}"/>
                </a:ext>
              </a:extLst>
            </p:cNvPr>
            <p:cNvSpPr/>
            <p:nvPr/>
          </p:nvSpPr>
          <p:spPr>
            <a:xfrm>
              <a:off x="1855652" y="2172922"/>
              <a:ext cx="9972000" cy="720725"/>
            </a:xfrm>
            <a:prstGeom prst="roundRect">
              <a:avLst>
                <a:gd name="adj" fmla="val 15018"/>
              </a:avLst>
            </a:prstGeom>
            <a:solidFill>
              <a:schemeClr val="bg1"/>
            </a:solidFill>
            <a:ln w="19050">
              <a:solidFill>
                <a:srgbClr val="ED7D3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ts val="2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o-R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E7AA76FA-FB6F-44E2-8CB6-5A1FB08C8094}"/>
                </a:ext>
              </a:extLst>
            </p:cNvPr>
            <p:cNvSpPr/>
            <p:nvPr/>
          </p:nvSpPr>
          <p:spPr>
            <a:xfrm rot="16200000">
              <a:off x="1689026" y="2389543"/>
              <a:ext cx="0" cy="320000"/>
            </a:xfrm>
            <a:custGeom>
              <a:avLst/>
              <a:gdLst>
                <a:gd name="connsiteX0" fmla="*/ 0 w 0"/>
                <a:gd name="connsiteY0" fmla="*/ 0 h 868680"/>
                <a:gd name="connsiteX1" fmla="*/ 0 w 0"/>
                <a:gd name="connsiteY1" fmla="*/ 868680 h 868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868680">
                  <a:moveTo>
                    <a:pt x="0" y="0"/>
                  </a:moveTo>
                  <a:lnTo>
                    <a:pt x="0" y="868680"/>
                  </a:lnTo>
                </a:path>
              </a:pathLst>
            </a:custGeom>
            <a:noFill/>
            <a:ln w="19050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54A7DA2-CF76-442D-A099-CB2F623461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0880" y="2298213"/>
              <a:ext cx="730800" cy="430124"/>
            </a:xfrm>
            <a:prstGeom prst="ellipse">
              <a:avLst/>
            </a:prstGeom>
            <a:solidFill>
              <a:srgbClr val="ED7D31"/>
            </a:solidFill>
            <a:ln w="28575">
              <a:solidFill>
                <a:srgbClr val="ED7D3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556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7D835A1-6E8F-4683-AB8F-BFA89A4B6EC7}"/>
              </a:ext>
            </a:extLst>
          </p:cNvPr>
          <p:cNvGrpSpPr/>
          <p:nvPr/>
        </p:nvGrpSpPr>
        <p:grpSpPr>
          <a:xfrm>
            <a:off x="609136" y="4738680"/>
            <a:ext cx="11039122" cy="1012566"/>
            <a:chOff x="636130" y="2919504"/>
            <a:chExt cx="11039122" cy="874413"/>
          </a:xfrm>
        </p:grpSpPr>
        <p:sp>
          <p:nvSpPr>
            <p:cNvPr id="14" name="Rounded Rectangle 7">
              <a:extLst>
                <a:ext uri="{FF2B5EF4-FFF2-40B4-BE49-F238E27FC236}">
                  <a16:creationId xmlns:a16="http://schemas.microsoft.com/office/drawing/2014/main" id="{6E5C8A57-31D2-4910-BD50-398275ACE957}"/>
                </a:ext>
              </a:extLst>
            </p:cNvPr>
            <p:cNvSpPr/>
            <p:nvPr/>
          </p:nvSpPr>
          <p:spPr>
            <a:xfrm>
              <a:off x="1703252" y="2919504"/>
              <a:ext cx="9972000" cy="874413"/>
            </a:xfrm>
            <a:prstGeom prst="roundRect">
              <a:avLst>
                <a:gd name="adj" fmla="val 15018"/>
              </a:avLst>
            </a:prstGeom>
            <a:solidFill>
              <a:schemeClr val="bg1"/>
            </a:solidFill>
            <a:ln w="19050">
              <a:solidFill>
                <a:srgbClr val="ED7D3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en-GB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  <a:p>
              <a:pPr algn="just"/>
              <a:r>
                <a:rPr lang="en-GB" dirty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anose="02020603050405020304" pitchFamily="18" charset="0"/>
                </a:rPr>
                <a:t>Early identification of population at increased risk for advanced liver disease allows for interventions that may prevent future hepatic complication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Times New Roman" panose="02020603050405020304" pitchFamily="18" charset="0"/>
                </a:rPr>
                <a:t> 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itchFamily="18" charset="0"/>
                <a:sym typeface="Wingding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21B5B9F-6517-444C-B585-12ED36C35313}"/>
                </a:ext>
              </a:extLst>
            </p:cNvPr>
            <p:cNvSpPr/>
            <p:nvPr/>
          </p:nvSpPr>
          <p:spPr>
            <a:xfrm rot="16200000">
              <a:off x="1535451" y="3191581"/>
              <a:ext cx="0" cy="320000"/>
            </a:xfrm>
            <a:custGeom>
              <a:avLst/>
              <a:gdLst>
                <a:gd name="connsiteX0" fmla="*/ 0 w 0"/>
                <a:gd name="connsiteY0" fmla="*/ 0 h 868680"/>
                <a:gd name="connsiteX1" fmla="*/ 0 w 0"/>
                <a:gd name="connsiteY1" fmla="*/ 868680 h 868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868680">
                  <a:moveTo>
                    <a:pt x="0" y="0"/>
                  </a:moveTo>
                  <a:lnTo>
                    <a:pt x="0" y="868680"/>
                  </a:lnTo>
                </a:path>
              </a:pathLst>
            </a:custGeom>
            <a:noFill/>
            <a:ln w="19050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D6048C-D917-4D10-BBC6-95767628F6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130" y="2985821"/>
              <a:ext cx="731520" cy="731520"/>
            </a:xfrm>
            <a:prstGeom prst="ellipse">
              <a:avLst/>
            </a:prstGeom>
            <a:solidFill>
              <a:srgbClr val="ED7D31"/>
            </a:solidFill>
            <a:ln w="28575">
              <a:solidFill>
                <a:srgbClr val="ED7D3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556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FA9A555-EBA1-932A-FEA3-207427C3CE7A}"/>
              </a:ext>
            </a:extLst>
          </p:cNvPr>
          <p:cNvSpPr txBox="1"/>
          <p:nvPr/>
        </p:nvSpPr>
        <p:spPr>
          <a:xfrm>
            <a:off x="1921171" y="3265851"/>
            <a:ext cx="955237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Century Gothic" panose="020B0502020202020204" pitchFamily="34" charset="0"/>
              </a:rPr>
              <a:t>Although the definitive diagnosis and staging of NASH remain linked to histology, non-invasive tools can be used to stratify the  risk  of disease progression and long - term clinical outcom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9BDBA71-0A3B-64CB-B688-23E650EC32EB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Take-home messages 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1957E45E-A48F-3A6D-5FC4-364B3BAB38FA}"/>
              </a:ext>
            </a:extLst>
          </p:cNvPr>
          <p:cNvSpPr txBox="1">
            <a:spLocks/>
          </p:cNvSpPr>
          <p:nvPr/>
        </p:nvSpPr>
        <p:spPr>
          <a:xfrm>
            <a:off x="1553261" y="6350776"/>
            <a:ext cx="9943322" cy="333375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MAFLD, metabolic-dysfunction associated fatty liver disease</a:t>
            </a:r>
          </a:p>
        </p:txBody>
      </p:sp>
    </p:spTree>
    <p:extLst>
      <p:ext uri="{BB962C8B-B14F-4D97-AF65-F5344CB8AC3E}">
        <p14:creationId xmlns:p14="http://schemas.microsoft.com/office/powerpoint/2010/main" val="80271657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C999A58-3A7F-4178-BA13-E1CAE2FB6F81}"/>
              </a:ext>
            </a:extLst>
          </p:cNvPr>
          <p:cNvGrpSpPr/>
          <p:nvPr/>
        </p:nvGrpSpPr>
        <p:grpSpPr>
          <a:xfrm>
            <a:off x="1211643" y="1543880"/>
            <a:ext cx="9234496" cy="722449"/>
            <a:chOff x="932479" y="1472809"/>
            <a:chExt cx="9234496" cy="72244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54F6B8E-7C39-4F7C-AE22-2410809302CA}"/>
                </a:ext>
              </a:extLst>
            </p:cNvPr>
            <p:cNvSpPr/>
            <p:nvPr/>
          </p:nvSpPr>
          <p:spPr>
            <a:xfrm>
              <a:off x="1374667" y="1574185"/>
              <a:ext cx="8792308" cy="590881"/>
            </a:xfrm>
            <a:prstGeom prst="rect">
              <a:avLst/>
            </a:prstGeom>
            <a:solidFill>
              <a:srgbClr val="F39325">
                <a:lumMod val="20000"/>
                <a:lumOff val="80000"/>
              </a:srgbClr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36000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Global prevalence of MAFLD/NAFLD</a:t>
              </a:r>
            </a:p>
          </p:txBody>
        </p:sp>
        <p:sp>
          <p:nvSpPr>
            <p:cNvPr id="6" name="Ellipse 4">
              <a:extLst>
                <a:ext uri="{FF2B5EF4-FFF2-40B4-BE49-F238E27FC236}">
                  <a16:creationId xmlns:a16="http://schemas.microsoft.com/office/drawing/2014/main" id="{304C79EB-9906-48C7-9810-7025F778A4C9}"/>
                </a:ext>
              </a:extLst>
            </p:cNvPr>
            <p:cNvSpPr/>
            <p:nvPr/>
          </p:nvSpPr>
          <p:spPr>
            <a:xfrm>
              <a:off x="932479" y="1472809"/>
              <a:ext cx="745724" cy="722449"/>
            </a:xfrm>
            <a:prstGeom prst="ellipse">
              <a:avLst/>
            </a:prstGeom>
            <a:gradFill flip="none" rotWithShape="1">
              <a:gsLst>
                <a:gs pos="0">
                  <a:srgbClr val="E66A25"/>
                </a:gs>
                <a:gs pos="100000">
                  <a:srgbClr val="A54A24"/>
                </a:gs>
              </a:gsLst>
              <a:lin ang="2700000" scaled="1"/>
              <a:tileRect/>
            </a:gra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B1F5CFD-C647-4151-84A0-ECEFEF124229}"/>
              </a:ext>
            </a:extLst>
          </p:cNvPr>
          <p:cNvGrpSpPr/>
          <p:nvPr/>
        </p:nvGrpSpPr>
        <p:grpSpPr>
          <a:xfrm>
            <a:off x="1211643" y="2604448"/>
            <a:ext cx="9234060" cy="676283"/>
            <a:chOff x="932915" y="1545280"/>
            <a:chExt cx="9234060" cy="67040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0C113F4-B071-4786-B98B-15CDE6EECBC6}"/>
                </a:ext>
              </a:extLst>
            </p:cNvPr>
            <p:cNvSpPr/>
            <p:nvPr/>
          </p:nvSpPr>
          <p:spPr>
            <a:xfrm>
              <a:off x="1374667" y="1618609"/>
              <a:ext cx="8792308" cy="597079"/>
            </a:xfrm>
            <a:prstGeom prst="rect">
              <a:avLst/>
            </a:prstGeom>
            <a:solidFill>
              <a:srgbClr val="F39325">
                <a:lumMod val="20000"/>
                <a:lumOff val="80000"/>
              </a:srgbClr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36000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Natural history of MAFLD/NAFLD</a:t>
              </a:r>
            </a:p>
          </p:txBody>
        </p:sp>
        <p:sp>
          <p:nvSpPr>
            <p:cNvPr id="9" name="Ellipse 4">
              <a:extLst>
                <a:ext uri="{FF2B5EF4-FFF2-40B4-BE49-F238E27FC236}">
                  <a16:creationId xmlns:a16="http://schemas.microsoft.com/office/drawing/2014/main" id="{F3409F26-C0BD-47C9-ADBB-1B9B2193AA91}"/>
                </a:ext>
              </a:extLst>
            </p:cNvPr>
            <p:cNvSpPr/>
            <p:nvPr/>
          </p:nvSpPr>
          <p:spPr>
            <a:xfrm>
              <a:off x="932915" y="1545280"/>
              <a:ext cx="745724" cy="670408"/>
            </a:xfrm>
            <a:prstGeom prst="ellipse">
              <a:avLst/>
            </a:prstGeom>
            <a:gradFill flip="none" rotWithShape="1">
              <a:gsLst>
                <a:gs pos="0">
                  <a:srgbClr val="E66A25"/>
                </a:gs>
                <a:gs pos="100000">
                  <a:srgbClr val="A54A24"/>
                </a:gs>
              </a:gsLst>
              <a:lin ang="2700000" scaled="1"/>
              <a:tileRect/>
            </a:gra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C2834B1-E30B-4882-83FC-7F6EBC1F2E37}"/>
              </a:ext>
            </a:extLst>
          </p:cNvPr>
          <p:cNvGrpSpPr/>
          <p:nvPr/>
        </p:nvGrpSpPr>
        <p:grpSpPr>
          <a:xfrm>
            <a:off x="1211643" y="3618850"/>
            <a:ext cx="9234496" cy="676284"/>
            <a:chOff x="932479" y="1619302"/>
            <a:chExt cx="9234496" cy="67628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FC3F323-8638-416E-A2BE-1488792356B2}"/>
                </a:ext>
              </a:extLst>
            </p:cNvPr>
            <p:cNvSpPr/>
            <p:nvPr/>
          </p:nvSpPr>
          <p:spPr>
            <a:xfrm>
              <a:off x="1374667" y="1698509"/>
              <a:ext cx="8792308" cy="597077"/>
            </a:xfrm>
            <a:prstGeom prst="rect">
              <a:avLst/>
            </a:prstGeom>
            <a:solidFill>
              <a:srgbClr val="F39325">
                <a:lumMod val="20000"/>
                <a:lumOff val="80000"/>
              </a:srgbClr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36000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Identification of patients with MAFLD/NAFLD at risk for </a:t>
              </a:r>
              <a:b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disease progression</a:t>
              </a:r>
            </a:p>
          </p:txBody>
        </p:sp>
        <p:sp>
          <p:nvSpPr>
            <p:cNvPr id="12" name="Ellipse 4">
              <a:extLst>
                <a:ext uri="{FF2B5EF4-FFF2-40B4-BE49-F238E27FC236}">
                  <a16:creationId xmlns:a16="http://schemas.microsoft.com/office/drawing/2014/main" id="{A7A71618-A777-4E1E-A1AF-B6B099911A1B}"/>
                </a:ext>
              </a:extLst>
            </p:cNvPr>
            <p:cNvSpPr/>
            <p:nvPr/>
          </p:nvSpPr>
          <p:spPr>
            <a:xfrm>
              <a:off x="932479" y="1619302"/>
              <a:ext cx="746160" cy="676284"/>
            </a:xfrm>
            <a:prstGeom prst="ellipse">
              <a:avLst/>
            </a:prstGeom>
            <a:gradFill flip="none" rotWithShape="1">
              <a:gsLst>
                <a:gs pos="0">
                  <a:srgbClr val="E66A25"/>
                </a:gs>
                <a:gs pos="100000">
                  <a:srgbClr val="A54A24"/>
                </a:gs>
              </a:gsLst>
              <a:lin ang="2700000" scaled="1"/>
              <a:tileRect/>
            </a:gra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E42D7B-EBEC-44E9-9F7F-77ABC11D0D78}"/>
              </a:ext>
            </a:extLst>
          </p:cNvPr>
          <p:cNvGrpSpPr/>
          <p:nvPr/>
        </p:nvGrpSpPr>
        <p:grpSpPr>
          <a:xfrm>
            <a:off x="1211643" y="4633254"/>
            <a:ext cx="9234496" cy="676286"/>
            <a:chOff x="932479" y="1619302"/>
            <a:chExt cx="9234496" cy="67628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2806D2-8983-42F1-965E-F79219C98A30}"/>
                </a:ext>
              </a:extLst>
            </p:cNvPr>
            <p:cNvSpPr/>
            <p:nvPr/>
          </p:nvSpPr>
          <p:spPr>
            <a:xfrm>
              <a:off x="1374667" y="1698510"/>
              <a:ext cx="8792308" cy="597078"/>
            </a:xfrm>
            <a:prstGeom prst="rect">
              <a:avLst/>
            </a:prstGeom>
            <a:solidFill>
              <a:srgbClr val="F39325">
                <a:lumMod val="20000"/>
                <a:lumOff val="80000"/>
              </a:srgbClr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36000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Algorithms used for MAFLD/NAFLD screening in specific </a:t>
              </a:r>
              <a:b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kumimoji="0" lang="en-GB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populations and for primary care follow-up </a:t>
              </a:r>
            </a:p>
          </p:txBody>
        </p:sp>
        <p:sp>
          <p:nvSpPr>
            <p:cNvPr id="15" name="Ellipse 4">
              <a:extLst>
                <a:ext uri="{FF2B5EF4-FFF2-40B4-BE49-F238E27FC236}">
                  <a16:creationId xmlns:a16="http://schemas.microsoft.com/office/drawing/2014/main" id="{A0F83B44-5A9D-4FF6-839A-AB352D808750}"/>
                </a:ext>
              </a:extLst>
            </p:cNvPr>
            <p:cNvSpPr/>
            <p:nvPr/>
          </p:nvSpPr>
          <p:spPr>
            <a:xfrm>
              <a:off x="932479" y="1619302"/>
              <a:ext cx="746160" cy="676286"/>
            </a:xfrm>
            <a:prstGeom prst="ellipse">
              <a:avLst/>
            </a:prstGeom>
            <a:gradFill flip="none" rotWithShape="1">
              <a:gsLst>
                <a:gs pos="0">
                  <a:srgbClr val="E66A25"/>
                </a:gs>
                <a:gs pos="100000">
                  <a:srgbClr val="A54A24"/>
                </a:gs>
              </a:gsLst>
              <a:lin ang="2700000" scaled="1"/>
              <a:tileRect/>
            </a:gra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4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A1002B2B-ED61-8054-338D-40DDE4518AA7}"/>
              </a:ext>
            </a:extLst>
          </p:cNvPr>
          <p:cNvSpPr txBox="1"/>
          <p:nvPr/>
        </p:nvSpPr>
        <p:spPr>
          <a:xfrm>
            <a:off x="1964184" y="6520641"/>
            <a:ext cx="609452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000" dirty="0">
                <a:latin typeface="Verdana" panose="020B0604030504040204" pitchFamily="34" charset="0"/>
                <a:ea typeface="Verdana" panose="020B0604030504040204" pitchFamily="34" charset="0"/>
              </a:rPr>
              <a:t>MAFLD, metabolic - associated fatty liver disease; NAFLD, Non-alcoholic fatty liver disease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4D0DB70-79AD-7F03-F8BB-29283DCE9D22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Outline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2747669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335749-1ACB-4A26-BB19-6B083B5A76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35773" y="6454015"/>
            <a:ext cx="10470478" cy="327782"/>
          </a:xfrm>
        </p:spPr>
        <p:txBody>
          <a:bodyPr/>
          <a:lstStyle/>
          <a:p>
            <a:r>
              <a:rPr lang="ro-RO" sz="900" dirty="0">
                <a:latin typeface="Verdana" panose="020B0604030504040204" pitchFamily="34" charset="0"/>
                <a:ea typeface="Verdana" panose="020B0604030504040204" pitchFamily="34" charset="0"/>
              </a:rPr>
              <a:t>Younossi</a:t>
            </a:r>
            <a:r>
              <a:rPr lang="en-GB" sz="900" dirty="0">
                <a:latin typeface="Verdana" panose="020B0604030504040204" pitchFamily="34" charset="0"/>
                <a:ea typeface="Verdana" panose="020B0604030504040204" pitchFamily="34" charset="0"/>
              </a:rPr>
              <a:t> ZM,</a:t>
            </a:r>
            <a:r>
              <a:rPr lang="ro-RO" sz="900" dirty="0">
                <a:latin typeface="Verdana" panose="020B0604030504040204" pitchFamily="34" charset="0"/>
                <a:ea typeface="Verdana" panose="020B0604030504040204" pitchFamily="34" charset="0"/>
              </a:rPr>
              <a:t> et al</a:t>
            </a:r>
            <a:r>
              <a:rPr lang="en-GB" sz="900" dirty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r>
              <a:rPr lang="ro-RO" sz="900" dirty="0">
                <a:latin typeface="Verdana" panose="020B0604030504040204" pitchFamily="34" charset="0"/>
                <a:ea typeface="Verdana" panose="020B0604030504040204" pitchFamily="34" charset="0"/>
              </a:rPr>
              <a:t>Hepatology 2023;77:1335–47</a:t>
            </a:r>
            <a:br>
              <a:rPr lang="en-GB" dirty="0"/>
            </a:br>
            <a:endParaRPr lang="en-GB" sz="800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19553BF-7F4C-5C85-F97B-3FD3E04302E7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Global prevalence of MAFLD</a:t>
            </a:r>
            <a:endParaRPr lang="en-GB" sz="22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D7941AA-6CD6-1556-D1F2-05D50A8CE4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636" y="1217169"/>
            <a:ext cx="9806532" cy="4628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3CD1BC3-BDD9-1263-6D67-BD7867E3604F}"/>
              </a:ext>
            </a:extLst>
          </p:cNvPr>
          <p:cNvSpPr txBox="1"/>
          <p:nvPr/>
        </p:nvSpPr>
        <p:spPr>
          <a:xfrm>
            <a:off x="6880194" y="0"/>
            <a:ext cx="5311807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 for PM team: Figure will be redrawn in final version</a:t>
            </a:r>
            <a:endParaRPr lang="en-GB" sz="1600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378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41CFD0FF-B0FC-66B8-98AE-50C734CD629F}"/>
              </a:ext>
            </a:extLst>
          </p:cNvPr>
          <p:cNvGrpSpPr/>
          <p:nvPr/>
        </p:nvGrpSpPr>
        <p:grpSpPr>
          <a:xfrm>
            <a:off x="1913258" y="2763618"/>
            <a:ext cx="8365484" cy="3201957"/>
            <a:chOff x="1682744" y="3260273"/>
            <a:chExt cx="9521962" cy="364460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009ABEF-5DD8-FEDF-A2F5-F9A7C24C91E4}"/>
                </a:ext>
              </a:extLst>
            </p:cNvPr>
            <p:cNvSpPr/>
            <p:nvPr/>
          </p:nvSpPr>
          <p:spPr>
            <a:xfrm>
              <a:off x="1682744" y="3260273"/>
              <a:ext cx="9521962" cy="5544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Nonalcoholic Fatty Liver Disease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5105032-B958-3EBD-E11C-900537DEF4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82744" y="3780430"/>
              <a:ext cx="2900209" cy="1828800"/>
            </a:xfrm>
            <a:prstGeom prst="rect">
              <a:avLst/>
            </a:prstGeom>
          </p:spPr>
        </p:pic>
        <p:pic>
          <p:nvPicPr>
            <p:cNvPr id="22" name="Graphic 15">
              <a:extLst>
                <a:ext uri="{FF2B5EF4-FFF2-40B4-BE49-F238E27FC236}">
                  <a16:creationId xmlns:a16="http://schemas.microsoft.com/office/drawing/2014/main" id="{68A37B6A-9222-B091-D3F0-D0962CFE3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34519" y="4581447"/>
              <a:ext cx="1192865" cy="932249"/>
            </a:xfrm>
            <a:prstGeom prst="rect">
              <a:avLst/>
            </a:prstGeom>
          </p:spPr>
        </p:pic>
        <p:pic>
          <p:nvPicPr>
            <p:cNvPr id="23" name="Picture 22" descr="A picture containing purple, pink, green&#10;&#10;Description automatically generated">
              <a:extLst>
                <a:ext uri="{FF2B5EF4-FFF2-40B4-BE49-F238E27FC236}">
                  <a16:creationId xmlns:a16="http://schemas.microsoft.com/office/drawing/2014/main" id="{9E535DAB-FF15-6DD9-669B-455E368E80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809"/>
            <a:stretch/>
          </p:blipFill>
          <p:spPr>
            <a:xfrm>
              <a:off x="4612944" y="3780430"/>
              <a:ext cx="3158262" cy="1828800"/>
            </a:xfrm>
            <a:prstGeom prst="rect">
              <a:avLst/>
            </a:prstGeom>
          </p:spPr>
        </p:pic>
        <p:pic>
          <p:nvPicPr>
            <p:cNvPr id="24" name="Graphic 19">
              <a:extLst>
                <a:ext uri="{FF2B5EF4-FFF2-40B4-BE49-F238E27FC236}">
                  <a16:creationId xmlns:a16="http://schemas.microsoft.com/office/drawing/2014/main" id="{57EAB3D1-4F55-C7D7-A075-CB668AE32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250675" y="4570250"/>
              <a:ext cx="1292668" cy="932250"/>
            </a:xfrm>
            <a:prstGeom prst="rect">
              <a:avLst/>
            </a:prstGeom>
          </p:spPr>
        </p:pic>
        <p:pic>
          <p:nvPicPr>
            <p:cNvPr id="25" name="Picture 24" descr="A picture containing elephant, fabric&#10;&#10;Description automatically generated">
              <a:extLst>
                <a:ext uri="{FF2B5EF4-FFF2-40B4-BE49-F238E27FC236}">
                  <a16:creationId xmlns:a16="http://schemas.microsoft.com/office/drawing/2014/main" id="{5D723CD8-DED6-8E65-550A-0145A25D86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"/>
            <a:stretch/>
          </p:blipFill>
          <p:spPr>
            <a:xfrm>
              <a:off x="7806712" y="3780430"/>
              <a:ext cx="3397994" cy="1817604"/>
            </a:xfrm>
            <a:prstGeom prst="rect">
              <a:avLst/>
            </a:prstGeom>
          </p:spPr>
        </p:pic>
        <p:pic>
          <p:nvPicPr>
            <p:cNvPr id="26" name="Graphic 20">
              <a:extLst>
                <a:ext uri="{FF2B5EF4-FFF2-40B4-BE49-F238E27FC236}">
                  <a16:creationId xmlns:a16="http://schemas.microsoft.com/office/drawing/2014/main" id="{B6CB94FD-3E5B-6A0B-3002-02217FE53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757956" y="4581446"/>
              <a:ext cx="1269242" cy="921054"/>
            </a:xfrm>
            <a:prstGeom prst="rect">
              <a:avLst/>
            </a:prstGeom>
          </p:spPr>
        </p:pic>
        <p:sp>
          <p:nvSpPr>
            <p:cNvPr id="27" name="TextBox 30">
              <a:extLst>
                <a:ext uri="{FF2B5EF4-FFF2-40B4-BE49-F238E27FC236}">
                  <a16:creationId xmlns:a16="http://schemas.microsoft.com/office/drawing/2014/main" id="{15DDA293-B9B5-A210-FA0F-64B31459EB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54674" y="5659904"/>
              <a:ext cx="2156345" cy="350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rgbClr val="003698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400" b="1">
                  <a:solidFill>
                    <a:schemeClr val="tx2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000">
                  <a:solidFill>
                    <a:srgbClr val="1636B4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2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Steatosis (NAFL)</a:t>
              </a:r>
            </a:p>
          </p:txBody>
        </p:sp>
        <p:sp>
          <p:nvSpPr>
            <p:cNvPr id="28" name="TextBox 30">
              <a:extLst>
                <a:ext uri="{FF2B5EF4-FFF2-40B4-BE49-F238E27FC236}">
                  <a16:creationId xmlns:a16="http://schemas.microsoft.com/office/drawing/2014/main" id="{7F89405C-81BE-7666-B4E0-F80BB8C7DC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43996" y="5584434"/>
              <a:ext cx="2296157" cy="5955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rgbClr val="003698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400" b="1">
                  <a:solidFill>
                    <a:schemeClr val="tx2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000">
                  <a:solidFill>
                    <a:srgbClr val="1636B4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2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Steatohepatitis (NASH)</a:t>
              </a:r>
            </a:p>
          </p:txBody>
        </p:sp>
        <p:sp>
          <p:nvSpPr>
            <p:cNvPr id="29" name="TextBox 30">
              <a:extLst>
                <a:ext uri="{FF2B5EF4-FFF2-40B4-BE49-F238E27FC236}">
                  <a16:creationId xmlns:a16="http://schemas.microsoft.com/office/drawing/2014/main" id="{3AB3BAD7-55E1-204B-BE7E-DB5F8BD537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89192" y="5713751"/>
              <a:ext cx="2185464" cy="350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rgbClr val="003698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400" b="1">
                  <a:solidFill>
                    <a:schemeClr val="tx2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Char char="•"/>
                <a:defRPr sz="2000">
                  <a:solidFill>
                    <a:srgbClr val="1636B4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2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ヒラギノ角ゴ Pro W3" pitchFamily="1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Fibrosis/cirrhosis</a:t>
              </a:r>
            </a:p>
          </p:txBody>
        </p:sp>
        <p:sp>
          <p:nvSpPr>
            <p:cNvPr id="30" name="Left-Right Arrow 14">
              <a:extLst>
                <a:ext uri="{FF2B5EF4-FFF2-40B4-BE49-F238E27FC236}">
                  <a16:creationId xmlns:a16="http://schemas.microsoft.com/office/drawing/2014/main" id="{6E2A1EC4-6A27-52F4-209A-9D3D7A5B9795}"/>
                </a:ext>
              </a:extLst>
            </p:cNvPr>
            <p:cNvSpPr/>
            <p:nvPr/>
          </p:nvSpPr>
          <p:spPr bwMode="auto">
            <a:xfrm>
              <a:off x="2415654" y="6053046"/>
              <a:ext cx="8059002" cy="851834"/>
            </a:xfrm>
            <a:prstGeom prst="leftRightArrow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Dynamic process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DB87E384-C589-D665-5FC2-6A3BBAA49441}"/>
              </a:ext>
            </a:extLst>
          </p:cNvPr>
          <p:cNvSpPr txBox="1"/>
          <p:nvPr/>
        </p:nvSpPr>
        <p:spPr>
          <a:xfrm>
            <a:off x="1556805" y="6375332"/>
            <a:ext cx="95921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</a:rPr>
              <a:t>Figure adapted from: 1. </a:t>
            </a:r>
            <a:r>
              <a:rPr lang="en-GB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Bertot</a:t>
            </a:r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</a:rPr>
              <a:t> LC and Adams LA. Int J Mol Sci 2016;17:774; 2. </a:t>
            </a:r>
            <a:r>
              <a:rPr lang="en-GB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Pais</a:t>
            </a:r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</a:rPr>
              <a:t> R and </a:t>
            </a:r>
            <a:r>
              <a:rPr lang="en-GB" sz="1000" dirty="0" err="1">
                <a:latin typeface="Verdana" panose="020B0604030504040204" pitchFamily="34" charset="0"/>
                <a:ea typeface="Verdana" panose="020B0604030504040204" pitchFamily="34" charset="0"/>
              </a:rPr>
              <a:t>Maurel</a:t>
            </a:r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</a:rPr>
              <a:t> T. J Clin Med 2021;10:116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C3CAF-8F00-561C-73D7-ED187103CDC0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MAFLD: a dynamic disease</a:t>
            </a:r>
            <a:endParaRPr lang="en-GB" sz="22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F3EE831-D54D-0CC7-809C-EF34EA586354}"/>
              </a:ext>
            </a:extLst>
          </p:cNvPr>
          <p:cNvGrpSpPr/>
          <p:nvPr/>
        </p:nvGrpSpPr>
        <p:grpSpPr>
          <a:xfrm>
            <a:off x="3282820" y="927121"/>
            <a:ext cx="5565853" cy="1835796"/>
            <a:chOff x="1282700" y="2452866"/>
            <a:chExt cx="3022600" cy="996950"/>
          </a:xfrm>
        </p:grpSpPr>
        <p:sp>
          <p:nvSpPr>
            <p:cNvPr id="5" name="Freeform 21">
              <a:extLst>
                <a:ext uri="{FF2B5EF4-FFF2-40B4-BE49-F238E27FC236}">
                  <a16:creationId xmlns:a16="http://schemas.microsoft.com/office/drawing/2014/main" id="{78E09D95-C14A-A4CF-49EB-AC2D9EE84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188" y="2571928"/>
              <a:ext cx="1016000" cy="598488"/>
            </a:xfrm>
            <a:custGeom>
              <a:avLst/>
              <a:gdLst>
                <a:gd name="T0" fmla="*/ 684 w 1338"/>
                <a:gd name="T1" fmla="*/ 788 h 788"/>
                <a:gd name="T2" fmla="*/ 338 w 1338"/>
                <a:gd name="T3" fmla="*/ 687 h 788"/>
                <a:gd name="T4" fmla="*/ 0 w 1338"/>
                <a:gd name="T5" fmla="*/ 707 h 788"/>
                <a:gd name="T6" fmla="*/ 315 w 1338"/>
                <a:gd name="T7" fmla="*/ 389 h 788"/>
                <a:gd name="T8" fmla="*/ 550 w 1338"/>
                <a:gd name="T9" fmla="*/ 213 h 788"/>
                <a:gd name="T10" fmla="*/ 888 w 1338"/>
                <a:gd name="T11" fmla="*/ 85 h 788"/>
                <a:gd name="T12" fmla="*/ 1338 w 1338"/>
                <a:gd name="T13" fmla="*/ 0 h 788"/>
                <a:gd name="T14" fmla="*/ 1146 w 1338"/>
                <a:gd name="T15" fmla="*/ 101 h 788"/>
                <a:gd name="T16" fmla="*/ 965 w 1338"/>
                <a:gd name="T17" fmla="*/ 241 h 788"/>
                <a:gd name="T18" fmla="*/ 880 w 1338"/>
                <a:gd name="T19" fmla="*/ 382 h 788"/>
                <a:gd name="T20" fmla="*/ 684 w 1338"/>
                <a:gd name="T21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8" h="788">
                  <a:moveTo>
                    <a:pt x="684" y="788"/>
                  </a:moveTo>
                  <a:cubicBezTo>
                    <a:pt x="599" y="721"/>
                    <a:pt x="391" y="691"/>
                    <a:pt x="338" y="687"/>
                  </a:cubicBezTo>
                  <a:cubicBezTo>
                    <a:pt x="285" y="682"/>
                    <a:pt x="189" y="665"/>
                    <a:pt x="0" y="707"/>
                  </a:cubicBezTo>
                  <a:cubicBezTo>
                    <a:pt x="0" y="707"/>
                    <a:pt x="246" y="447"/>
                    <a:pt x="315" y="389"/>
                  </a:cubicBezTo>
                  <a:cubicBezTo>
                    <a:pt x="384" y="330"/>
                    <a:pt x="465" y="257"/>
                    <a:pt x="550" y="213"/>
                  </a:cubicBezTo>
                  <a:cubicBezTo>
                    <a:pt x="635" y="168"/>
                    <a:pt x="760" y="116"/>
                    <a:pt x="888" y="85"/>
                  </a:cubicBezTo>
                  <a:cubicBezTo>
                    <a:pt x="1015" y="55"/>
                    <a:pt x="1314" y="4"/>
                    <a:pt x="1338" y="0"/>
                  </a:cubicBezTo>
                  <a:cubicBezTo>
                    <a:pt x="1282" y="27"/>
                    <a:pt x="1182" y="80"/>
                    <a:pt x="1146" y="101"/>
                  </a:cubicBezTo>
                  <a:cubicBezTo>
                    <a:pt x="1110" y="123"/>
                    <a:pt x="985" y="211"/>
                    <a:pt x="965" y="241"/>
                  </a:cubicBezTo>
                  <a:cubicBezTo>
                    <a:pt x="944" y="270"/>
                    <a:pt x="906" y="331"/>
                    <a:pt x="880" y="382"/>
                  </a:cubicBezTo>
                  <a:cubicBezTo>
                    <a:pt x="853" y="433"/>
                    <a:pt x="706" y="742"/>
                    <a:pt x="684" y="7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22">
              <a:extLst>
                <a:ext uri="{FF2B5EF4-FFF2-40B4-BE49-F238E27FC236}">
                  <a16:creationId xmlns:a16="http://schemas.microsoft.com/office/drawing/2014/main" id="{C300362C-B7E1-A8A4-7A0B-4CB53A6A3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700" y="2571928"/>
              <a:ext cx="1016000" cy="598488"/>
            </a:xfrm>
            <a:custGeom>
              <a:avLst/>
              <a:gdLst>
                <a:gd name="T0" fmla="*/ 653 w 1337"/>
                <a:gd name="T1" fmla="*/ 788 h 788"/>
                <a:gd name="T2" fmla="*/ 999 w 1337"/>
                <a:gd name="T3" fmla="*/ 687 h 788"/>
                <a:gd name="T4" fmla="*/ 1337 w 1337"/>
                <a:gd name="T5" fmla="*/ 707 h 788"/>
                <a:gd name="T6" fmla="*/ 1022 w 1337"/>
                <a:gd name="T7" fmla="*/ 389 h 788"/>
                <a:gd name="T8" fmla="*/ 787 w 1337"/>
                <a:gd name="T9" fmla="*/ 213 h 788"/>
                <a:gd name="T10" fmla="*/ 450 w 1337"/>
                <a:gd name="T11" fmla="*/ 85 h 788"/>
                <a:gd name="T12" fmla="*/ 0 w 1337"/>
                <a:gd name="T13" fmla="*/ 0 h 788"/>
                <a:gd name="T14" fmla="*/ 191 w 1337"/>
                <a:gd name="T15" fmla="*/ 101 h 788"/>
                <a:gd name="T16" fmla="*/ 373 w 1337"/>
                <a:gd name="T17" fmla="*/ 241 h 788"/>
                <a:gd name="T18" fmla="*/ 457 w 1337"/>
                <a:gd name="T19" fmla="*/ 382 h 788"/>
                <a:gd name="T20" fmla="*/ 653 w 1337"/>
                <a:gd name="T21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7" h="788">
                  <a:moveTo>
                    <a:pt x="653" y="788"/>
                  </a:moveTo>
                  <a:cubicBezTo>
                    <a:pt x="738" y="721"/>
                    <a:pt x="946" y="691"/>
                    <a:pt x="999" y="687"/>
                  </a:cubicBezTo>
                  <a:cubicBezTo>
                    <a:pt x="1052" y="682"/>
                    <a:pt x="1148" y="665"/>
                    <a:pt x="1337" y="707"/>
                  </a:cubicBezTo>
                  <a:cubicBezTo>
                    <a:pt x="1337" y="707"/>
                    <a:pt x="1091" y="447"/>
                    <a:pt x="1022" y="389"/>
                  </a:cubicBezTo>
                  <a:cubicBezTo>
                    <a:pt x="953" y="330"/>
                    <a:pt x="872" y="257"/>
                    <a:pt x="787" y="213"/>
                  </a:cubicBezTo>
                  <a:cubicBezTo>
                    <a:pt x="702" y="168"/>
                    <a:pt x="577" y="116"/>
                    <a:pt x="450" y="85"/>
                  </a:cubicBezTo>
                  <a:cubicBezTo>
                    <a:pt x="322" y="55"/>
                    <a:pt x="24" y="4"/>
                    <a:pt x="0" y="0"/>
                  </a:cubicBezTo>
                  <a:cubicBezTo>
                    <a:pt x="55" y="27"/>
                    <a:pt x="155" y="80"/>
                    <a:pt x="191" y="101"/>
                  </a:cubicBezTo>
                  <a:cubicBezTo>
                    <a:pt x="227" y="123"/>
                    <a:pt x="352" y="211"/>
                    <a:pt x="373" y="241"/>
                  </a:cubicBezTo>
                  <a:cubicBezTo>
                    <a:pt x="393" y="270"/>
                    <a:pt x="431" y="331"/>
                    <a:pt x="457" y="382"/>
                  </a:cubicBezTo>
                  <a:cubicBezTo>
                    <a:pt x="484" y="433"/>
                    <a:pt x="631" y="742"/>
                    <a:pt x="653" y="7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Freeform 23">
              <a:extLst>
                <a:ext uri="{FF2B5EF4-FFF2-40B4-BE49-F238E27FC236}">
                  <a16:creationId xmlns:a16="http://schemas.microsoft.com/office/drawing/2014/main" id="{22CDDC40-F507-80BE-AB72-928FFFA1D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300" y="2570341"/>
              <a:ext cx="1028700" cy="600075"/>
            </a:xfrm>
            <a:custGeom>
              <a:avLst/>
              <a:gdLst>
                <a:gd name="T0" fmla="*/ 677 w 1353"/>
                <a:gd name="T1" fmla="*/ 733 h 790"/>
                <a:gd name="T2" fmla="*/ 1353 w 1353"/>
                <a:gd name="T3" fmla="*/ 790 h 790"/>
                <a:gd name="T4" fmla="*/ 1157 w 1353"/>
                <a:gd name="T5" fmla="*/ 384 h 790"/>
                <a:gd name="T6" fmla="*/ 1073 w 1353"/>
                <a:gd name="T7" fmla="*/ 243 h 790"/>
                <a:gd name="T8" fmla="*/ 891 w 1353"/>
                <a:gd name="T9" fmla="*/ 103 h 790"/>
                <a:gd name="T10" fmla="*/ 700 w 1353"/>
                <a:gd name="T11" fmla="*/ 2 h 790"/>
                <a:gd name="T12" fmla="*/ 677 w 1353"/>
                <a:gd name="T13" fmla="*/ 2 h 790"/>
                <a:gd name="T14" fmla="*/ 654 w 1353"/>
                <a:gd name="T15" fmla="*/ 2 h 790"/>
                <a:gd name="T16" fmla="*/ 462 w 1353"/>
                <a:gd name="T17" fmla="*/ 103 h 790"/>
                <a:gd name="T18" fmla="*/ 281 w 1353"/>
                <a:gd name="T19" fmla="*/ 243 h 790"/>
                <a:gd name="T20" fmla="*/ 196 w 1353"/>
                <a:gd name="T21" fmla="*/ 384 h 790"/>
                <a:gd name="T22" fmla="*/ 0 w 1353"/>
                <a:gd name="T23" fmla="*/ 790 h 790"/>
                <a:gd name="T24" fmla="*/ 677 w 1353"/>
                <a:gd name="T25" fmla="*/ 733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3" h="790">
                  <a:moveTo>
                    <a:pt x="677" y="733"/>
                  </a:moveTo>
                  <a:cubicBezTo>
                    <a:pt x="859" y="733"/>
                    <a:pt x="1247" y="762"/>
                    <a:pt x="1353" y="790"/>
                  </a:cubicBezTo>
                  <a:cubicBezTo>
                    <a:pt x="1331" y="744"/>
                    <a:pt x="1184" y="435"/>
                    <a:pt x="1157" y="384"/>
                  </a:cubicBezTo>
                  <a:cubicBezTo>
                    <a:pt x="1131" y="333"/>
                    <a:pt x="1093" y="272"/>
                    <a:pt x="1073" y="243"/>
                  </a:cubicBezTo>
                  <a:cubicBezTo>
                    <a:pt x="1052" y="213"/>
                    <a:pt x="927" y="125"/>
                    <a:pt x="891" y="103"/>
                  </a:cubicBezTo>
                  <a:cubicBezTo>
                    <a:pt x="855" y="82"/>
                    <a:pt x="755" y="29"/>
                    <a:pt x="700" y="2"/>
                  </a:cubicBezTo>
                  <a:cubicBezTo>
                    <a:pt x="686" y="0"/>
                    <a:pt x="677" y="2"/>
                    <a:pt x="677" y="2"/>
                  </a:cubicBezTo>
                  <a:cubicBezTo>
                    <a:pt x="677" y="2"/>
                    <a:pt x="667" y="0"/>
                    <a:pt x="654" y="2"/>
                  </a:cubicBezTo>
                  <a:cubicBezTo>
                    <a:pt x="598" y="29"/>
                    <a:pt x="498" y="82"/>
                    <a:pt x="462" y="103"/>
                  </a:cubicBezTo>
                  <a:cubicBezTo>
                    <a:pt x="426" y="125"/>
                    <a:pt x="301" y="213"/>
                    <a:pt x="281" y="243"/>
                  </a:cubicBezTo>
                  <a:cubicBezTo>
                    <a:pt x="260" y="272"/>
                    <a:pt x="222" y="333"/>
                    <a:pt x="196" y="384"/>
                  </a:cubicBezTo>
                  <a:cubicBezTo>
                    <a:pt x="169" y="435"/>
                    <a:pt x="22" y="744"/>
                    <a:pt x="0" y="790"/>
                  </a:cubicBezTo>
                  <a:cubicBezTo>
                    <a:pt x="106" y="762"/>
                    <a:pt x="494" y="733"/>
                    <a:pt x="677" y="73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 24">
              <a:extLst>
                <a:ext uri="{FF2B5EF4-FFF2-40B4-BE49-F238E27FC236}">
                  <a16:creationId xmlns:a16="http://schemas.microsoft.com/office/drawing/2014/main" id="{029BA295-E49D-C7D1-9E92-501E0A7F7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188" y="2452866"/>
              <a:ext cx="2068513" cy="717550"/>
            </a:xfrm>
            <a:custGeom>
              <a:avLst/>
              <a:gdLst>
                <a:gd name="T0" fmla="*/ 1361 w 2721"/>
                <a:gd name="T1" fmla="*/ 888 h 945"/>
                <a:gd name="T2" fmla="*/ 2037 w 2721"/>
                <a:gd name="T3" fmla="*/ 945 h 945"/>
                <a:gd name="T4" fmla="*/ 2383 w 2721"/>
                <a:gd name="T5" fmla="*/ 844 h 945"/>
                <a:gd name="T6" fmla="*/ 2721 w 2721"/>
                <a:gd name="T7" fmla="*/ 864 h 945"/>
                <a:gd name="T8" fmla="*/ 2406 w 2721"/>
                <a:gd name="T9" fmla="*/ 546 h 945"/>
                <a:gd name="T10" fmla="*/ 2171 w 2721"/>
                <a:gd name="T11" fmla="*/ 370 h 945"/>
                <a:gd name="T12" fmla="*/ 1834 w 2721"/>
                <a:gd name="T13" fmla="*/ 242 h 945"/>
                <a:gd name="T14" fmla="*/ 1384 w 2721"/>
                <a:gd name="T15" fmla="*/ 157 h 945"/>
                <a:gd name="T16" fmla="*/ 1361 w 2721"/>
                <a:gd name="T17" fmla="*/ 0 h 945"/>
                <a:gd name="T18" fmla="*/ 1338 w 2721"/>
                <a:gd name="T19" fmla="*/ 157 h 945"/>
                <a:gd name="T20" fmla="*/ 888 w 2721"/>
                <a:gd name="T21" fmla="*/ 242 h 945"/>
                <a:gd name="T22" fmla="*/ 550 w 2721"/>
                <a:gd name="T23" fmla="*/ 370 h 945"/>
                <a:gd name="T24" fmla="*/ 315 w 2721"/>
                <a:gd name="T25" fmla="*/ 546 h 945"/>
                <a:gd name="T26" fmla="*/ 0 w 2721"/>
                <a:gd name="T27" fmla="*/ 864 h 945"/>
                <a:gd name="T28" fmla="*/ 338 w 2721"/>
                <a:gd name="T29" fmla="*/ 844 h 945"/>
                <a:gd name="T30" fmla="*/ 684 w 2721"/>
                <a:gd name="T31" fmla="*/ 945 h 945"/>
                <a:gd name="T32" fmla="*/ 1361 w 2721"/>
                <a:gd name="T33" fmla="*/ 888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21" h="945">
                  <a:moveTo>
                    <a:pt x="1361" y="888"/>
                  </a:moveTo>
                  <a:cubicBezTo>
                    <a:pt x="1533" y="882"/>
                    <a:pt x="1928" y="919"/>
                    <a:pt x="2037" y="945"/>
                  </a:cubicBezTo>
                  <a:cubicBezTo>
                    <a:pt x="2122" y="878"/>
                    <a:pt x="2330" y="848"/>
                    <a:pt x="2383" y="844"/>
                  </a:cubicBezTo>
                  <a:cubicBezTo>
                    <a:pt x="2436" y="839"/>
                    <a:pt x="2532" y="822"/>
                    <a:pt x="2721" y="864"/>
                  </a:cubicBezTo>
                  <a:cubicBezTo>
                    <a:pt x="2721" y="864"/>
                    <a:pt x="2475" y="604"/>
                    <a:pt x="2406" y="546"/>
                  </a:cubicBezTo>
                  <a:cubicBezTo>
                    <a:pt x="2337" y="487"/>
                    <a:pt x="2256" y="414"/>
                    <a:pt x="2171" y="370"/>
                  </a:cubicBezTo>
                  <a:cubicBezTo>
                    <a:pt x="2086" y="325"/>
                    <a:pt x="1961" y="273"/>
                    <a:pt x="1834" y="242"/>
                  </a:cubicBezTo>
                  <a:cubicBezTo>
                    <a:pt x="1706" y="212"/>
                    <a:pt x="1408" y="161"/>
                    <a:pt x="1384" y="157"/>
                  </a:cubicBezTo>
                  <a:cubicBezTo>
                    <a:pt x="1359" y="153"/>
                    <a:pt x="1378" y="0"/>
                    <a:pt x="1361" y="0"/>
                  </a:cubicBezTo>
                  <a:cubicBezTo>
                    <a:pt x="1343" y="0"/>
                    <a:pt x="1362" y="153"/>
                    <a:pt x="1338" y="157"/>
                  </a:cubicBezTo>
                  <a:cubicBezTo>
                    <a:pt x="1314" y="161"/>
                    <a:pt x="1015" y="212"/>
                    <a:pt x="888" y="242"/>
                  </a:cubicBezTo>
                  <a:cubicBezTo>
                    <a:pt x="760" y="273"/>
                    <a:pt x="635" y="325"/>
                    <a:pt x="550" y="370"/>
                  </a:cubicBezTo>
                  <a:cubicBezTo>
                    <a:pt x="465" y="414"/>
                    <a:pt x="384" y="487"/>
                    <a:pt x="315" y="546"/>
                  </a:cubicBezTo>
                  <a:cubicBezTo>
                    <a:pt x="246" y="604"/>
                    <a:pt x="0" y="864"/>
                    <a:pt x="0" y="864"/>
                  </a:cubicBezTo>
                  <a:cubicBezTo>
                    <a:pt x="189" y="822"/>
                    <a:pt x="285" y="839"/>
                    <a:pt x="338" y="844"/>
                  </a:cubicBezTo>
                  <a:cubicBezTo>
                    <a:pt x="391" y="848"/>
                    <a:pt x="599" y="878"/>
                    <a:pt x="684" y="945"/>
                  </a:cubicBezTo>
                  <a:cubicBezTo>
                    <a:pt x="793" y="919"/>
                    <a:pt x="1188" y="882"/>
                    <a:pt x="1361" y="888"/>
                  </a:cubicBezTo>
                  <a:close/>
                </a:path>
              </a:pathLst>
            </a:custGeom>
            <a:noFill/>
            <a:ln w="12700" cap="flat">
              <a:solidFill>
                <a:srgbClr val="333F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Line 25">
              <a:extLst>
                <a:ext uri="{FF2B5EF4-FFF2-40B4-BE49-F238E27FC236}">
                  <a16:creationId xmlns:a16="http://schemas.microsoft.com/office/drawing/2014/main" id="{91C89004-7F72-39A2-B57A-0AD08389D3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7650" y="3127553"/>
              <a:ext cx="0" cy="322263"/>
            </a:xfrm>
            <a:prstGeom prst="line">
              <a:avLst/>
            </a:prstGeom>
            <a:noFill/>
            <a:ln w="76200" cap="flat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Line 26">
              <a:extLst>
                <a:ext uri="{FF2B5EF4-FFF2-40B4-BE49-F238E27FC236}">
                  <a16:creationId xmlns:a16="http://schemas.microsoft.com/office/drawing/2014/main" id="{A48C8A4C-BBCE-5484-A3D4-15E53476AB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82700" y="3110091"/>
              <a:ext cx="471488" cy="3397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Line 27">
              <a:extLst>
                <a:ext uri="{FF2B5EF4-FFF2-40B4-BE49-F238E27FC236}">
                  <a16:creationId xmlns:a16="http://schemas.microsoft.com/office/drawing/2014/main" id="{56C1106F-C4B9-6681-B4E3-BB74293A73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22700" y="3110091"/>
              <a:ext cx="482600" cy="3397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06105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7F58E14-F155-464F-95F5-D0335E07B44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852" y="2715421"/>
            <a:ext cx="1157638" cy="7678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5F7FD4D-B279-B44F-8C14-5E2DEFD4FB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5676" y="1812648"/>
            <a:ext cx="603626" cy="999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6635572-9771-0F4D-AF8B-1CB7B2AB197E}"/>
              </a:ext>
            </a:extLst>
          </p:cNvPr>
          <p:cNvSpPr txBox="1"/>
          <p:nvPr/>
        </p:nvSpPr>
        <p:spPr>
          <a:xfrm>
            <a:off x="1095956" y="3457634"/>
            <a:ext cx="909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charset="0"/>
                <a:ea typeface="Century Gothic" charset="0"/>
                <a:cs typeface="Century Gothic" charset="0"/>
              </a:rPr>
              <a:t>NAFL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626848-3744-C441-9137-977334893CD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2425" y="2756977"/>
            <a:ext cx="1157639" cy="762347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99979522-35B6-1640-A8D9-79D066B93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2033" y="1812648"/>
            <a:ext cx="598249" cy="9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391E8A-A3E3-C645-BAA0-ABA3A86BEE1B}"/>
              </a:ext>
            </a:extLst>
          </p:cNvPr>
          <p:cNvSpPr txBox="1"/>
          <p:nvPr/>
        </p:nvSpPr>
        <p:spPr>
          <a:xfrm>
            <a:off x="2757552" y="2376867"/>
            <a:ext cx="7261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400" dirty="0">
                <a:latin typeface="Century Gothic" panose="020B0502020202020204" pitchFamily="34" charset="0"/>
              </a:rPr>
              <a:t>20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F912C-217B-3C44-8045-1A17414D0E07}"/>
              </a:ext>
            </a:extLst>
          </p:cNvPr>
          <p:cNvSpPr txBox="1"/>
          <p:nvPr/>
        </p:nvSpPr>
        <p:spPr>
          <a:xfrm>
            <a:off x="3384246" y="3477846"/>
            <a:ext cx="7959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charset="0"/>
                <a:ea typeface="Century Gothic" charset="0"/>
                <a:cs typeface="Century Gothic" charset="0"/>
              </a:rPr>
              <a:t>NASH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449EC3-48A0-2243-B8B5-EE97F23EDDB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0735" y="2787083"/>
            <a:ext cx="1365560" cy="7607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5349554-ADAC-584B-979E-71146DCA5090}"/>
              </a:ext>
            </a:extLst>
          </p:cNvPr>
          <p:cNvSpPr txBox="1"/>
          <p:nvPr/>
        </p:nvSpPr>
        <p:spPr>
          <a:xfrm>
            <a:off x="4532692" y="2312187"/>
            <a:ext cx="1520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dirty="0">
                <a:latin typeface="Century Gothic" panose="020B0502020202020204" pitchFamily="34" charset="0"/>
              </a:rPr>
              <a:t>20% -30%</a:t>
            </a:r>
          </a:p>
          <a:p>
            <a:pPr algn="ctr"/>
            <a:r>
              <a:rPr lang="ro-RO" sz="1400" dirty="0">
                <a:latin typeface="Century Gothic" panose="020B0502020202020204" pitchFamily="34" charset="0"/>
              </a:rPr>
              <a:t>over 3 </a:t>
            </a:r>
            <a:r>
              <a:rPr lang="ro-RO" sz="1400" dirty="0" err="1">
                <a:latin typeface="Century Gothic" panose="020B0502020202020204" pitchFamily="34" charset="0"/>
              </a:rPr>
              <a:t>years</a:t>
            </a:r>
            <a:endParaRPr lang="ro-RO" sz="1400" dirty="0">
              <a:latin typeface="Century Gothic" panose="020B0502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C9FEB0-409D-F246-B3B5-45E93AF1B2D7}"/>
              </a:ext>
            </a:extLst>
          </p:cNvPr>
          <p:cNvSpPr txBox="1"/>
          <p:nvPr/>
        </p:nvSpPr>
        <p:spPr>
          <a:xfrm>
            <a:off x="5608257" y="3542441"/>
            <a:ext cx="14862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charset="0"/>
                <a:ea typeface="Century Gothic" charset="0"/>
                <a:cs typeface="Century Gothic" charset="0"/>
              </a:rPr>
              <a:t>Fibrosis F1-F3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B5B345B-55F5-C14F-91EF-E722E9634CE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6961" y="2813823"/>
            <a:ext cx="1157639" cy="7513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1FC92DC-055E-514E-B296-C4635D46CB5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05628" y="1887042"/>
            <a:ext cx="630001" cy="99907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0026C2A-053E-7F40-BCCC-071471235707}"/>
              </a:ext>
            </a:extLst>
          </p:cNvPr>
          <p:cNvSpPr txBox="1"/>
          <p:nvPr/>
        </p:nvSpPr>
        <p:spPr>
          <a:xfrm>
            <a:off x="7965930" y="3624957"/>
            <a:ext cx="1080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charset="0"/>
                <a:ea typeface="Century Gothic" charset="0"/>
                <a:cs typeface="Century Gothic" charset="0"/>
              </a:rPr>
              <a:t>Cirrhosi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C5C5D14-D109-2D4A-BC52-F0CEACDECA79}"/>
              </a:ext>
            </a:extLst>
          </p:cNvPr>
          <p:cNvSpPr/>
          <p:nvPr/>
        </p:nvSpPr>
        <p:spPr>
          <a:xfrm>
            <a:off x="8026961" y="4648091"/>
            <a:ext cx="1157334" cy="451104"/>
          </a:xfrm>
          <a:prstGeom prst="rect">
            <a:avLst/>
          </a:prstGeom>
          <a:noFill/>
          <a:ln w="254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Liver</a:t>
            </a:r>
            <a:r>
              <a:rPr lang="ro-RO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o-RO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failure</a:t>
            </a:r>
            <a:endParaRPr lang="ro-RO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80F9A52-475E-1640-B4B9-D73674C1E9E2}"/>
              </a:ext>
            </a:extLst>
          </p:cNvPr>
          <p:cNvSpPr/>
          <p:nvPr/>
        </p:nvSpPr>
        <p:spPr>
          <a:xfrm>
            <a:off x="8026961" y="5739574"/>
            <a:ext cx="1157334" cy="451104"/>
          </a:xfrm>
          <a:prstGeom prst="rect">
            <a:avLst/>
          </a:prstGeom>
          <a:noFill/>
          <a:ln w="254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Liver</a:t>
            </a:r>
            <a:r>
              <a:rPr lang="ro-RO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transpla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ECE5FE6-4DC5-C243-BA6B-196F90DF7E6F}"/>
              </a:ext>
            </a:extLst>
          </p:cNvPr>
          <p:cNvSpPr/>
          <p:nvPr/>
        </p:nvSpPr>
        <p:spPr>
          <a:xfrm>
            <a:off x="10205318" y="4648091"/>
            <a:ext cx="1157334" cy="451104"/>
          </a:xfrm>
          <a:prstGeom prst="rect">
            <a:avLst/>
          </a:prstGeom>
          <a:noFill/>
          <a:ln w="254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Liver</a:t>
            </a:r>
            <a:r>
              <a:rPr lang="ro-RO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o-RO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death</a:t>
            </a:r>
            <a:endParaRPr lang="ro-RO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A25240C-03C1-0540-9097-B01FC1F247D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7062" y="4302076"/>
            <a:ext cx="1430511" cy="92611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D97DBB4-727A-E043-8BA6-67D3DC63E207}"/>
              </a:ext>
            </a:extLst>
          </p:cNvPr>
          <p:cNvSpPr txBox="1"/>
          <p:nvPr/>
        </p:nvSpPr>
        <p:spPr>
          <a:xfrm>
            <a:off x="4530224" y="5286647"/>
            <a:ext cx="696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charset="0"/>
                <a:ea typeface="Century Gothic" charset="0"/>
                <a:cs typeface="Century Gothic" charset="0"/>
              </a:rPr>
              <a:t>HCC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45F9DBA-1629-B345-A122-D3FF3D5A3F9C}"/>
              </a:ext>
            </a:extLst>
          </p:cNvPr>
          <p:cNvCxnSpPr/>
          <p:nvPr/>
        </p:nvCxnSpPr>
        <p:spPr>
          <a:xfrm>
            <a:off x="2509167" y="3216165"/>
            <a:ext cx="692646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0A39B8E-BA85-7D44-91EE-793700BF5BD8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4183901" y="3167450"/>
            <a:ext cx="177683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2DE7FF8-A472-4C42-BA26-10AAEECF01B4}"/>
              </a:ext>
            </a:extLst>
          </p:cNvPr>
          <p:cNvCxnSpPr>
            <a:cxnSpLocks/>
          </p:cNvCxnSpPr>
          <p:nvPr/>
        </p:nvCxnSpPr>
        <p:spPr>
          <a:xfrm>
            <a:off x="7094483" y="3216165"/>
            <a:ext cx="932478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DFA3E28-4688-5541-A23C-A1D533F51BD3}"/>
              </a:ext>
            </a:extLst>
          </p:cNvPr>
          <p:cNvSpPr txBox="1"/>
          <p:nvPr/>
        </p:nvSpPr>
        <p:spPr>
          <a:xfrm>
            <a:off x="6833714" y="2312187"/>
            <a:ext cx="1520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dirty="0">
                <a:latin typeface="Century Gothic" panose="020B0502020202020204" pitchFamily="34" charset="0"/>
              </a:rPr>
              <a:t>20% F3</a:t>
            </a:r>
          </a:p>
          <a:p>
            <a:pPr algn="ctr"/>
            <a:r>
              <a:rPr lang="ro-RO" sz="1400" dirty="0">
                <a:latin typeface="Century Gothic" panose="020B0502020202020204" pitchFamily="34" charset="0"/>
              </a:rPr>
              <a:t>over 2 </a:t>
            </a:r>
            <a:r>
              <a:rPr lang="ro-RO" sz="1400" dirty="0" err="1">
                <a:latin typeface="Century Gothic" panose="020B0502020202020204" pitchFamily="34" charset="0"/>
              </a:rPr>
              <a:t>years</a:t>
            </a:r>
            <a:endParaRPr lang="ro-RO" sz="1400" dirty="0">
              <a:latin typeface="Century Gothic" panose="020B050202020202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C996BF1-B5DA-9647-980B-AE28AF6F8DAD}"/>
              </a:ext>
            </a:extLst>
          </p:cNvPr>
          <p:cNvCxnSpPr>
            <a:cxnSpLocks/>
          </p:cNvCxnSpPr>
          <p:nvPr/>
        </p:nvCxnSpPr>
        <p:spPr>
          <a:xfrm>
            <a:off x="3662033" y="3880995"/>
            <a:ext cx="0" cy="1044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0CA8F8FC-B454-C04E-B1E9-0A52C0DE8CB4}"/>
              </a:ext>
            </a:extLst>
          </p:cNvPr>
          <p:cNvCxnSpPr>
            <a:cxnSpLocks/>
          </p:cNvCxnSpPr>
          <p:nvPr/>
        </p:nvCxnSpPr>
        <p:spPr>
          <a:xfrm>
            <a:off x="3648282" y="4950368"/>
            <a:ext cx="612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1D2ED38-2065-D84A-8C2C-DF4BCA3BD8F2}"/>
              </a:ext>
            </a:extLst>
          </p:cNvPr>
          <p:cNvCxnSpPr>
            <a:cxnSpLocks/>
          </p:cNvCxnSpPr>
          <p:nvPr/>
        </p:nvCxnSpPr>
        <p:spPr>
          <a:xfrm flipH="1">
            <a:off x="5736485" y="3922807"/>
            <a:ext cx="746116" cy="523436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1919F54-976B-8F45-BF77-7E5246278EB1}"/>
              </a:ext>
            </a:extLst>
          </p:cNvPr>
          <p:cNvCxnSpPr>
            <a:cxnSpLocks/>
          </p:cNvCxnSpPr>
          <p:nvPr/>
        </p:nvCxnSpPr>
        <p:spPr>
          <a:xfrm>
            <a:off x="5293043" y="4924995"/>
            <a:ext cx="2672887" cy="313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8628B72-EC8D-DE4C-B3D1-2C53F9BB9084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8506009" y="3963511"/>
            <a:ext cx="0" cy="57600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A0B5F07-27EE-0E40-90B9-F550DEDBA6B0}"/>
              </a:ext>
            </a:extLst>
          </p:cNvPr>
          <p:cNvCxnSpPr/>
          <p:nvPr/>
        </p:nvCxnSpPr>
        <p:spPr>
          <a:xfrm>
            <a:off x="8354416" y="3922807"/>
            <a:ext cx="0" cy="576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543D0B1-1596-C041-BD3B-7A75564EDAB7}"/>
              </a:ext>
            </a:extLst>
          </p:cNvPr>
          <p:cNvCxnSpPr>
            <a:cxnSpLocks/>
          </p:cNvCxnSpPr>
          <p:nvPr/>
        </p:nvCxnSpPr>
        <p:spPr>
          <a:xfrm flipH="1">
            <a:off x="5787574" y="4521374"/>
            <a:ext cx="2566842" cy="18137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75C13F77-10E0-A44B-A4D7-CCA9487E69B6}"/>
              </a:ext>
            </a:extLst>
          </p:cNvPr>
          <p:cNvCxnSpPr>
            <a:cxnSpLocks/>
          </p:cNvCxnSpPr>
          <p:nvPr/>
        </p:nvCxnSpPr>
        <p:spPr>
          <a:xfrm>
            <a:off x="9184295" y="4950368"/>
            <a:ext cx="936000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B3EC361-0124-DC4A-AAA8-94B789CABCF6}"/>
              </a:ext>
            </a:extLst>
          </p:cNvPr>
          <p:cNvCxnSpPr/>
          <p:nvPr/>
        </p:nvCxnSpPr>
        <p:spPr>
          <a:xfrm>
            <a:off x="8731087" y="3216165"/>
            <a:ext cx="205289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910E90D-9FEF-D144-BA44-84F586C2FEB9}"/>
              </a:ext>
            </a:extLst>
          </p:cNvPr>
          <p:cNvCxnSpPr>
            <a:cxnSpLocks/>
          </p:cNvCxnSpPr>
          <p:nvPr/>
        </p:nvCxnSpPr>
        <p:spPr>
          <a:xfrm>
            <a:off x="10783985" y="3216165"/>
            <a:ext cx="0" cy="1323346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D277BB94-56F2-3447-BE7F-2114B107067B}"/>
              </a:ext>
            </a:extLst>
          </p:cNvPr>
          <p:cNvSpPr txBox="1"/>
          <p:nvPr/>
        </p:nvSpPr>
        <p:spPr>
          <a:xfrm>
            <a:off x="8475278" y="4013737"/>
            <a:ext cx="1520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dirty="0">
                <a:latin typeface="Century Gothic" panose="020B0502020202020204" pitchFamily="34" charset="0"/>
              </a:rPr>
              <a:t>20% </a:t>
            </a:r>
          </a:p>
          <a:p>
            <a:pPr algn="ctr"/>
            <a:r>
              <a:rPr lang="ro-RO" sz="1400" dirty="0">
                <a:latin typeface="Century Gothic" panose="020B0502020202020204" pitchFamily="34" charset="0"/>
              </a:rPr>
              <a:t>over 2 </a:t>
            </a:r>
            <a:r>
              <a:rPr lang="ro-RO" sz="1400" dirty="0" err="1">
                <a:latin typeface="Century Gothic" panose="020B0502020202020204" pitchFamily="34" charset="0"/>
              </a:rPr>
              <a:t>years</a:t>
            </a:r>
            <a:endParaRPr lang="ro-RO" sz="1400" dirty="0">
              <a:latin typeface="Century Gothic" panose="020B0502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E4B77C3-36E2-6D49-A9C1-79F518872A3D}"/>
              </a:ext>
            </a:extLst>
          </p:cNvPr>
          <p:cNvSpPr txBox="1"/>
          <p:nvPr/>
        </p:nvSpPr>
        <p:spPr>
          <a:xfrm>
            <a:off x="9286894" y="2362900"/>
            <a:ext cx="21319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dirty="0">
                <a:latin typeface="Century Gothic" panose="020B0502020202020204" pitchFamily="34" charset="0"/>
              </a:rPr>
              <a:t>30- 40%</a:t>
            </a:r>
          </a:p>
          <a:p>
            <a:pPr algn="ctr"/>
            <a:r>
              <a:rPr lang="ro-RO" sz="1400" dirty="0">
                <a:latin typeface="Century Gothic" panose="020B0502020202020204" pitchFamily="34" charset="0"/>
              </a:rPr>
              <a:t> die </a:t>
            </a:r>
            <a:r>
              <a:rPr lang="ro-RO" sz="1400" dirty="0" err="1">
                <a:latin typeface="Century Gothic" panose="020B0502020202020204" pitchFamily="34" charset="0"/>
              </a:rPr>
              <a:t>from</a:t>
            </a:r>
            <a:r>
              <a:rPr lang="ro-RO" sz="1400" dirty="0">
                <a:latin typeface="Century Gothic" panose="020B0502020202020204" pitchFamily="34" charset="0"/>
              </a:rPr>
              <a:t> </a:t>
            </a:r>
            <a:r>
              <a:rPr lang="ro-RO" sz="1400" dirty="0" err="1">
                <a:latin typeface="Century Gothic" panose="020B0502020202020204" pitchFamily="34" charset="0"/>
              </a:rPr>
              <a:t>liver</a:t>
            </a:r>
            <a:r>
              <a:rPr lang="ro-RO" sz="1400" dirty="0">
                <a:latin typeface="Century Gothic" panose="020B0502020202020204" pitchFamily="34" charset="0"/>
              </a:rPr>
              <a:t> </a:t>
            </a:r>
            <a:r>
              <a:rPr lang="ro-RO" sz="1400" dirty="0" err="1">
                <a:latin typeface="Century Gothic" panose="020B0502020202020204" pitchFamily="34" charset="0"/>
              </a:rPr>
              <a:t>disease</a:t>
            </a:r>
            <a:r>
              <a:rPr lang="ro-RO" sz="1400" dirty="0">
                <a:latin typeface="Century Gothic" panose="020B0502020202020204" pitchFamily="34" charset="0"/>
              </a:rPr>
              <a:t> 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28A4D6B-24CC-2F4E-B83A-53DB5238B360}"/>
              </a:ext>
            </a:extLst>
          </p:cNvPr>
          <p:cNvSpPr txBox="1"/>
          <p:nvPr/>
        </p:nvSpPr>
        <p:spPr>
          <a:xfrm>
            <a:off x="6089256" y="4231734"/>
            <a:ext cx="1740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1400" dirty="0">
                <a:latin typeface="Century Gothic" panose="020B0502020202020204" pitchFamily="34" charset="0"/>
              </a:rPr>
              <a:t> 1.5-2% per </a:t>
            </a:r>
            <a:r>
              <a:rPr lang="ro-RO" sz="1400" dirty="0" err="1">
                <a:latin typeface="Century Gothic" panose="020B0502020202020204" pitchFamily="34" charset="0"/>
              </a:rPr>
              <a:t>year</a:t>
            </a:r>
            <a:endParaRPr lang="ro-RO" sz="1400" dirty="0">
              <a:latin typeface="Century Gothic" panose="020B0502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E954A88-379E-8048-8A0D-DE7AC74CE5BC}"/>
              </a:ext>
            </a:extLst>
          </p:cNvPr>
          <p:cNvSpPr txBox="1"/>
          <p:nvPr/>
        </p:nvSpPr>
        <p:spPr>
          <a:xfrm>
            <a:off x="4651370" y="977772"/>
            <a:ext cx="3167790" cy="10310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Fibrosis progression rate in NASH: 1 stage per 7 yea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20% of patients progress rapidly to cirrhosis in 10 years</a:t>
            </a:r>
            <a:r>
              <a:rPr lang="en-US" sz="1400" baseline="300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endParaRPr lang="en-US" sz="14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11DDE94-75D6-5843-A0DE-82E712C5627B}"/>
              </a:ext>
            </a:extLst>
          </p:cNvPr>
          <p:cNvSpPr txBox="1"/>
          <p:nvPr/>
        </p:nvSpPr>
        <p:spPr>
          <a:xfrm>
            <a:off x="943597" y="4832676"/>
            <a:ext cx="2456531" cy="12464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5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Risk of death in NASH</a:t>
            </a: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r>
              <a:rPr lang="en-US" sz="1500" baseline="300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endParaRPr lang="en-US" sz="15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1</a:t>
            </a:r>
            <a:r>
              <a:rPr lang="en-US" sz="1500" baseline="30000" dirty="0">
                <a:latin typeface="Century Gothic" panose="020B0502020202020204" pitchFamily="34" charset="0"/>
                <a:cs typeface="Times New Roman" panose="02020603050405020304" pitchFamily="18" charset="0"/>
              </a:rPr>
              <a:t>st</a:t>
            </a: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CV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2</a:t>
            </a:r>
            <a:r>
              <a:rPr lang="en-US" sz="1500" baseline="30000" dirty="0">
                <a:latin typeface="Century Gothic" panose="020B0502020202020204" pitchFamily="34" charset="0"/>
                <a:cs typeface="Times New Roman" panose="02020603050405020304" pitchFamily="18" charset="0"/>
              </a:rPr>
              <a:t>nd</a:t>
            </a: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Cance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3</a:t>
            </a:r>
            <a:r>
              <a:rPr lang="en-US" sz="1500" baseline="30000" dirty="0">
                <a:latin typeface="Century Gothic" panose="020B0502020202020204" pitchFamily="34" charset="0"/>
                <a:cs typeface="Times New Roman" panose="02020603050405020304" pitchFamily="18" charset="0"/>
              </a:rPr>
              <a:t>rd</a:t>
            </a:r>
            <a:r>
              <a:rPr lang="en-US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Liver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0F12EAB-D7B8-B34E-BBBB-5378FF143CFE}"/>
              </a:ext>
            </a:extLst>
          </p:cNvPr>
          <p:cNvCxnSpPr>
            <a:cxnSpLocks/>
          </p:cNvCxnSpPr>
          <p:nvPr/>
        </p:nvCxnSpPr>
        <p:spPr>
          <a:xfrm flipH="1">
            <a:off x="8506009" y="5213568"/>
            <a:ext cx="2477" cy="411633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0977603-1434-2C4F-8972-3E9D57421F00}"/>
              </a:ext>
            </a:extLst>
          </p:cNvPr>
          <p:cNvCxnSpPr>
            <a:cxnSpLocks/>
          </p:cNvCxnSpPr>
          <p:nvPr/>
        </p:nvCxnSpPr>
        <p:spPr>
          <a:xfrm>
            <a:off x="5293043" y="4924995"/>
            <a:ext cx="0" cy="1027939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FDA9BEF0-9F09-B04D-B208-4ACD486A3D02}"/>
              </a:ext>
            </a:extLst>
          </p:cNvPr>
          <p:cNvCxnSpPr/>
          <p:nvPr/>
        </p:nvCxnSpPr>
        <p:spPr>
          <a:xfrm>
            <a:off x="5293043" y="5952934"/>
            <a:ext cx="2672887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2">
            <a:extLst>
              <a:ext uri="{FF2B5EF4-FFF2-40B4-BE49-F238E27FC236}">
                <a16:creationId xmlns:a16="http://schemas.microsoft.com/office/drawing/2014/main" id="{67ABE8B5-2BD7-69C5-BE10-4A6A20B4322E}"/>
              </a:ext>
            </a:extLst>
          </p:cNvPr>
          <p:cNvSpPr txBox="1">
            <a:spLocks/>
          </p:cNvSpPr>
          <p:nvPr/>
        </p:nvSpPr>
        <p:spPr>
          <a:xfrm>
            <a:off x="428213" y="1006979"/>
            <a:ext cx="11362660" cy="82484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 algn="ctr"/>
            <a:endParaRPr lang="en-GB" sz="3200" b="1" dirty="0">
              <a:latin typeface="Century Gothic" panose="020B0502020202020204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3527E2E-8E04-B5B4-4157-178B9B75CD2F}"/>
              </a:ext>
            </a:extLst>
          </p:cNvPr>
          <p:cNvSpPr txBox="1">
            <a:spLocks/>
          </p:cNvSpPr>
          <p:nvPr/>
        </p:nvSpPr>
        <p:spPr>
          <a:xfrm>
            <a:off x="1666181" y="6335832"/>
            <a:ext cx="9256890" cy="333375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100000"/>
              <a:buFont typeface="Calibri" panose="020F0502020204030204" pitchFamily="34" charset="0"/>
              <a:buChar char="•"/>
              <a:defRPr sz="20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504000" indent="-180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‒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2pPr>
            <a:lvl3pPr marL="79200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3pPr>
            <a:lvl4pPr marL="1044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4pPr>
            <a:lvl5pPr marL="1296000" indent="-144000" algn="l" defTabSz="6858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CVD, cardiovascular disease; HCC, hepatocellular carcinoma; MAFLD, metabolic-dysfunction associated fatty liver disease; NASH, non-alcoholic steatohepatitis. Figure adapted from: 1. </a:t>
            </a:r>
            <a:r>
              <a:rPr lang="en-GB" sz="1000" dirty="0" err="1"/>
              <a:t>Bertot</a:t>
            </a:r>
            <a:r>
              <a:rPr lang="en-GB" sz="1000" dirty="0"/>
              <a:t> LC and Adams LA. Int J Mol Sci 2016;17:774; 2. </a:t>
            </a:r>
            <a:r>
              <a:rPr lang="en-GB" sz="1000" dirty="0" err="1"/>
              <a:t>Pais</a:t>
            </a:r>
            <a:r>
              <a:rPr lang="en-GB" sz="1000" dirty="0"/>
              <a:t> R and </a:t>
            </a:r>
            <a:r>
              <a:rPr lang="en-GB" sz="1000" dirty="0" err="1"/>
              <a:t>Maurel</a:t>
            </a:r>
            <a:r>
              <a:rPr lang="en-GB" sz="1000" dirty="0"/>
              <a:t> T. J Clin Med 2021;10:1161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BE95F87-1C8A-98D0-DE9F-D619F714A642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Natural history of MAFLD</a:t>
            </a:r>
          </a:p>
        </p:txBody>
      </p:sp>
    </p:spTree>
    <p:extLst>
      <p:ext uri="{BB962C8B-B14F-4D97-AF65-F5344CB8AC3E}">
        <p14:creationId xmlns:p14="http://schemas.microsoft.com/office/powerpoint/2010/main" val="260801846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Box 11">
            <a:extLst>
              <a:ext uri="{FF2B5EF4-FFF2-40B4-BE49-F238E27FC236}">
                <a16:creationId xmlns:a16="http://schemas.microsoft.com/office/drawing/2014/main" id="{1A9420D5-8CDB-294B-BEEC-9587601C67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8130" y="6426256"/>
            <a:ext cx="340248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10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itchFamily="18" charset="0"/>
              </a:rPr>
              <a:t>Younossi Z, et al. Hepatology 2019;69:2672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508627B-C581-F9D7-FB14-49C2FEC23960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MAFLD: a multisystemic diseas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B880309-DE68-5ED6-8B8E-8EDE9D6F210E}"/>
              </a:ext>
            </a:extLst>
          </p:cNvPr>
          <p:cNvGrpSpPr/>
          <p:nvPr/>
        </p:nvGrpSpPr>
        <p:grpSpPr>
          <a:xfrm>
            <a:off x="1570462" y="1322153"/>
            <a:ext cx="9221363" cy="4174630"/>
            <a:chOff x="702525" y="1034168"/>
            <a:chExt cx="10574649" cy="4787281"/>
          </a:xfrm>
        </p:grpSpPr>
        <p:pic>
          <p:nvPicPr>
            <p:cNvPr id="2" name="Picture 1" descr="Fatty liver symbol with siren. Internal organ requires care or medical treatment due to disease or impact of adverse on health. health care concept. Vector illustration isolated on white background.">
              <a:extLst>
                <a:ext uri="{FF2B5EF4-FFF2-40B4-BE49-F238E27FC236}">
                  <a16:creationId xmlns:a16="http://schemas.microsoft.com/office/drawing/2014/main" id="{4DD9544C-DE82-1E47-A638-595B20E79D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r:link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02" t="12501" r="12080" b="9895"/>
            <a:stretch>
              <a:fillRect/>
            </a:stretch>
          </p:blipFill>
          <p:spPr bwMode="auto">
            <a:xfrm>
              <a:off x="4673403" y="2258568"/>
              <a:ext cx="2845194" cy="23408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BB5E441-5BE6-7C40-946C-DAB38DA8A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1705" y="1034168"/>
              <a:ext cx="693682" cy="113432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F2781C6-5F34-0F40-AEA1-717157135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H="1">
              <a:off x="878416" y="2260462"/>
              <a:ext cx="800260" cy="1024964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0AEF6CA-99DB-334E-AC7D-086821EBF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6537" y="3484130"/>
              <a:ext cx="884018" cy="1073919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6C9736-2CD3-6241-95C4-62D21371A8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2525" y="4885396"/>
              <a:ext cx="1152043" cy="818372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2960580-CAC4-BB44-885A-41893E6EC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95384" y="1160964"/>
              <a:ext cx="984344" cy="880729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F92733D-06B8-D848-ABA1-75A909408A3E}"/>
                </a:ext>
              </a:extLst>
            </p:cNvPr>
            <p:cNvSpPr/>
            <p:nvPr/>
          </p:nvSpPr>
          <p:spPr bwMode="auto">
            <a:xfrm>
              <a:off x="7877521" y="1306990"/>
              <a:ext cx="2159111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Type 2 Diabetes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6065E3D-1EBF-674D-A3C1-1013D74FC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09898" y="2299917"/>
              <a:ext cx="755317" cy="94605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82B37BD-7C09-D343-A767-86240A185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97939" y="3779559"/>
              <a:ext cx="1179235" cy="48306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063E0F9-37D4-6A4E-8340-0A3144DFB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94319" y="4767715"/>
              <a:ext cx="986474" cy="1053734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920B45-AF91-9D7F-B1D7-35222C7367D6}"/>
                </a:ext>
              </a:extLst>
            </p:cNvPr>
            <p:cNvSpPr/>
            <p:nvPr/>
          </p:nvSpPr>
          <p:spPr bwMode="auto">
            <a:xfrm>
              <a:off x="7877521" y="5000243"/>
              <a:ext cx="2159111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Cancer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3CCC867-D17C-3618-4A27-98CBC26B3F59}"/>
                </a:ext>
              </a:extLst>
            </p:cNvPr>
            <p:cNvSpPr/>
            <p:nvPr/>
          </p:nvSpPr>
          <p:spPr bwMode="auto">
            <a:xfrm>
              <a:off x="7877521" y="3726751"/>
              <a:ext cx="2159111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Sarcopenia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F6675FA-0013-25C3-66D8-293806C7ED88}"/>
                </a:ext>
              </a:extLst>
            </p:cNvPr>
            <p:cNvSpPr/>
            <p:nvPr/>
          </p:nvSpPr>
          <p:spPr bwMode="auto">
            <a:xfrm>
              <a:off x="7877521" y="2478606"/>
              <a:ext cx="2159111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Cardiovascular Diseas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8F0BCFC-3E6E-C228-FBAD-742072F172C2}"/>
                </a:ext>
              </a:extLst>
            </p:cNvPr>
            <p:cNvSpPr/>
            <p:nvPr/>
          </p:nvSpPr>
          <p:spPr bwMode="auto">
            <a:xfrm>
              <a:off x="1963181" y="1306990"/>
              <a:ext cx="2159529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Chronic Kidney Diseas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AF52945-F2FF-65DC-8465-2BE8FE66384C}"/>
                </a:ext>
              </a:extLst>
            </p:cNvPr>
            <p:cNvSpPr/>
            <p:nvPr/>
          </p:nvSpPr>
          <p:spPr bwMode="auto">
            <a:xfrm>
              <a:off x="1963181" y="2478606"/>
              <a:ext cx="2159529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Obstructive Sleep Apnea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0C864AA-67FD-2AAC-0E23-09AEF7A538C7}"/>
                </a:ext>
              </a:extLst>
            </p:cNvPr>
            <p:cNvSpPr/>
            <p:nvPr/>
          </p:nvSpPr>
          <p:spPr bwMode="auto">
            <a:xfrm>
              <a:off x="1963181" y="3726751"/>
              <a:ext cx="2159529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Gallstone Diseas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58F1D4-B77D-CEC0-5B2A-B682250C67E0}"/>
                </a:ext>
              </a:extLst>
            </p:cNvPr>
            <p:cNvSpPr/>
            <p:nvPr/>
          </p:nvSpPr>
          <p:spPr bwMode="auto">
            <a:xfrm>
              <a:off x="1963181" y="5000243"/>
              <a:ext cx="2159529" cy="5886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miter lim="800000"/>
              <a:headEnd/>
              <a:tailEnd/>
            </a:ln>
          </p:spPr>
          <p:txBody>
            <a:bodyPr rtlCol="0" anchor="ctr"/>
            <a:lstStyle/>
            <a:p>
              <a:pPr algn="ctr" eaLnBrk="1" hangingPunct="1">
                <a:spcBef>
                  <a:spcPct val="35000"/>
                </a:spcBef>
                <a:spcAft>
                  <a:spcPct val="25000"/>
                </a:spcAft>
                <a:buClr>
                  <a:schemeClr val="folHlink"/>
                </a:buClr>
                <a:buNone/>
              </a:pP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itchFamily="18" charset="0"/>
                </a:rPr>
                <a:t>Polycystic Ovary Syndro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395353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1A3F224-41C8-A542-A11C-7631544F2B4C}"/>
              </a:ext>
            </a:extLst>
          </p:cNvPr>
          <p:cNvSpPr/>
          <p:nvPr/>
        </p:nvSpPr>
        <p:spPr>
          <a:xfrm>
            <a:off x="0" y="1304926"/>
            <a:ext cx="12192000" cy="4572000"/>
          </a:xfrm>
          <a:prstGeom prst="rect">
            <a:avLst/>
          </a:prstGeom>
          <a:solidFill>
            <a:srgbClr val="FFF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478C57-9EE5-264D-98C4-948EC775AEB5}"/>
              </a:ext>
            </a:extLst>
          </p:cNvPr>
          <p:cNvSpPr txBox="1"/>
          <p:nvPr/>
        </p:nvSpPr>
        <p:spPr>
          <a:xfrm>
            <a:off x="652024" y="1501059"/>
            <a:ext cx="11005908" cy="4179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560"/>
              </a:lnSpc>
            </a:pPr>
            <a:r>
              <a:rPr lang="ro-RO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ro-RO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o-RO" sz="16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onventional B-mode ultrasound (first line tool)</a:t>
            </a:r>
            <a:r>
              <a:rPr lang="en-US" altLang="en-US" sz="1600" b="1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</a:t>
            </a:r>
            <a:endParaRPr lang="ro-RO" sz="1600" b="1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3560"/>
              </a:lnSpc>
            </a:pPr>
            <a:r>
              <a:rPr lang="ro-RO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</a:t>
            </a:r>
            <a:r>
              <a:rPr lang="ro-RO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ro-RO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acks sensitivity for lesser degrees of steatosis</a:t>
            </a:r>
          </a:p>
          <a:p>
            <a:pPr>
              <a:lnSpc>
                <a:spcPts val="3560"/>
              </a:lnSpc>
            </a:pPr>
            <a:r>
              <a:rPr lang="ro-RO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</a:t>
            </a:r>
            <a:r>
              <a:rPr lang="ro-RO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ro-RO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o-RO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ovides a subjective semi</a:t>
            </a:r>
            <a:r>
              <a:rPr lang="en-ZA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-</a:t>
            </a:r>
            <a:r>
              <a:rPr lang="ro-RO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quantitative assessment of steatosis severity</a:t>
            </a:r>
          </a:p>
          <a:p>
            <a:pPr>
              <a:lnSpc>
                <a:spcPts val="3560"/>
              </a:lnSpc>
            </a:pPr>
            <a:r>
              <a:rPr lang="ro-RO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ro-RO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o-RO" sz="16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ontrolled Attenuation Parameter (CAP)</a:t>
            </a:r>
            <a:r>
              <a:rPr lang="en-US" altLang="en-US" sz="1600" b="1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2</a:t>
            </a:r>
            <a:endParaRPr lang="ro-RO" sz="1600" b="1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3560"/>
              </a:lnSpc>
            </a:pPr>
            <a:r>
              <a:rPr lang="en-GB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</a:t>
            </a:r>
            <a:r>
              <a:rPr lang="en-GB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omising point-of care technique for the assessment of steatosis: &gt;275dB/m; Se 90% </a:t>
            </a:r>
          </a:p>
          <a:p>
            <a:pPr>
              <a:lnSpc>
                <a:spcPts val="3560"/>
              </a:lnSpc>
            </a:pPr>
            <a:r>
              <a:rPr lang="en-GB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</a:t>
            </a:r>
            <a:r>
              <a:rPr lang="en-GB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en-GB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 suitable for accurate quantification or monitoring of changes in liver fat</a:t>
            </a:r>
          </a:p>
          <a:p>
            <a:pPr>
              <a:lnSpc>
                <a:spcPts val="3560"/>
              </a:lnSpc>
            </a:pPr>
            <a:r>
              <a:rPr lang="ro-RO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●</a:t>
            </a:r>
            <a:r>
              <a:rPr lang="ro-RO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o-RO" sz="16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RI-Proton Density Fat Fraction (PDFF)</a:t>
            </a:r>
            <a:r>
              <a:rPr lang="en-US" altLang="en-US" sz="1600" b="1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2</a:t>
            </a:r>
            <a:endParaRPr lang="ro-RO" sz="1600" b="1" dirty="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3560"/>
              </a:lnSpc>
            </a:pPr>
            <a:r>
              <a:rPr lang="ro-RO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 </a:t>
            </a:r>
            <a:r>
              <a:rPr lang="ro-RO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ro-RO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ccurate, reproductible and precise MRI-based biomarker for fat quantification</a:t>
            </a:r>
          </a:p>
          <a:p>
            <a:pPr>
              <a:lnSpc>
                <a:spcPts val="3560"/>
              </a:lnSpc>
            </a:pPr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•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imitations: cost, patient acceptance, not a point-of care technique</a:t>
            </a:r>
          </a:p>
        </p:txBody>
      </p:sp>
      <p:sp>
        <p:nvSpPr>
          <p:cNvPr id="7" name="Text Box 15">
            <a:extLst>
              <a:ext uri="{FF2B5EF4-FFF2-40B4-BE49-F238E27FC236}">
                <a16:creationId xmlns:a16="http://schemas.microsoft.com/office/drawing/2014/main" id="{09A8FE69-3152-9542-8CC6-238BC75E8C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4326" y="6341617"/>
            <a:ext cx="10493357" cy="400110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a-DK" altLang="en-US" sz="1000" b="0" spc="-1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1. </a:t>
            </a:r>
            <a:r>
              <a:rPr lang="da-DK" altLang="en-US" sz="1000" b="0" spc="-10" dirty="0" err="1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aadeh</a:t>
            </a:r>
            <a:r>
              <a:rPr lang="da-DK" altLang="en-US" sz="1000" b="0" spc="-1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S, et al. </a:t>
            </a:r>
            <a:r>
              <a:rPr lang="da-DK" altLang="en-US" sz="1000" b="0" spc="-10" dirty="0" err="1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Gastroenterol</a:t>
            </a:r>
            <a:r>
              <a:rPr lang="da-DK" altLang="en-US" sz="1000" b="0" spc="-1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2002;123:745-50. 2. Park CC, et al. </a:t>
            </a:r>
            <a:r>
              <a:rPr lang="da-DK" altLang="en-US" sz="1000" b="0" spc="-10" dirty="0" err="1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Gastroenterol</a:t>
            </a:r>
            <a:r>
              <a:rPr lang="da-DK" altLang="en-US" sz="1000" b="0" spc="-1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2017;152:598–607.</a:t>
            </a:r>
            <a:br>
              <a:rPr lang="da-DK" altLang="en-US" sz="1000" b="0" spc="-1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GB" altLang="en-US" sz="1000" spc="-1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For clinical guidance on non-invasive tests for liver disease, please see: EASL, J Hepatol. 2021;75:659–689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FAC4DF8-1E2C-7209-AF26-9DADFF5AC571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Identification and quantification of steatosis </a:t>
            </a:r>
          </a:p>
        </p:txBody>
      </p:sp>
    </p:spTree>
    <p:extLst>
      <p:ext uri="{BB962C8B-B14F-4D97-AF65-F5344CB8AC3E}">
        <p14:creationId xmlns:p14="http://schemas.microsoft.com/office/powerpoint/2010/main" val="189270584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9">
            <a:extLst>
              <a:ext uri="{FF2B5EF4-FFF2-40B4-BE49-F238E27FC236}">
                <a16:creationId xmlns:a16="http://schemas.microsoft.com/office/drawing/2014/main" id="{C137A805-61A1-1549-AB74-E5D2EB56DD03}"/>
              </a:ext>
            </a:extLst>
          </p:cNvPr>
          <p:cNvSpPr/>
          <p:nvPr/>
        </p:nvSpPr>
        <p:spPr>
          <a:xfrm>
            <a:off x="629879" y="1691866"/>
            <a:ext cx="4338047" cy="111600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3202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ot always required,</a:t>
            </a:r>
            <a:br>
              <a:rPr lang="en-GB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GB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nd should be tailored</a:t>
            </a:r>
            <a:br>
              <a:rPr lang="en-GB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GB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o the patient</a:t>
            </a:r>
            <a:endParaRPr lang="ro-RO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ounded Rectangle 9">
            <a:extLst>
              <a:ext uri="{FF2B5EF4-FFF2-40B4-BE49-F238E27FC236}">
                <a16:creationId xmlns:a16="http://schemas.microsoft.com/office/drawing/2014/main" id="{5B0ECE44-D8B2-854C-B7F0-D89C6ABA2A1E}"/>
              </a:ext>
            </a:extLst>
          </p:cNvPr>
          <p:cNvSpPr/>
          <p:nvPr/>
        </p:nvSpPr>
        <p:spPr>
          <a:xfrm>
            <a:off x="629879" y="4022294"/>
            <a:ext cx="4338047" cy="111600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3202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Liver biopsy to classify such a large population is:</a:t>
            </a:r>
            <a:endParaRPr lang="ro-RO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4DE011-12B3-5446-9C6C-491F19518E1C}"/>
              </a:ext>
            </a:extLst>
          </p:cNvPr>
          <p:cNvSpPr txBox="1"/>
          <p:nvPr/>
        </p:nvSpPr>
        <p:spPr>
          <a:xfrm>
            <a:off x="5169306" y="1711257"/>
            <a:ext cx="666447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onfirm diagnosis/exclude alternative pathology</a:t>
            </a:r>
          </a:p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age disease</a:t>
            </a:r>
          </a:p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ratify progression risk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475180-1F39-314A-B4A3-39248E891507}"/>
              </a:ext>
            </a:extLst>
          </p:cNvPr>
          <p:cNvSpPr txBox="1"/>
          <p:nvPr/>
        </p:nvSpPr>
        <p:spPr>
          <a:xfrm>
            <a:off x="5169306" y="3864714"/>
            <a:ext cx="603134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mpractical</a:t>
            </a:r>
          </a:p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Expensive</a:t>
            </a:r>
          </a:p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vasive</a:t>
            </a:r>
          </a:p>
          <a:p>
            <a:pPr marL="360363" lvl="1" indent="-2682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rone to sampling and reading variabilit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834ABB4-DCE8-4F46-9B65-DDEC28299C63}"/>
              </a:ext>
            </a:extLst>
          </p:cNvPr>
          <p:cNvSpPr txBox="1">
            <a:spLocks/>
          </p:cNvSpPr>
          <p:nvPr/>
        </p:nvSpPr>
        <p:spPr>
          <a:xfrm>
            <a:off x="1491258" y="6281009"/>
            <a:ext cx="7586067" cy="458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World Gastroenterology Organisation 2012. WGO Global Guidelines NAFLD/NASH (long version); </a:t>
            </a:r>
            <a:r>
              <a:rPr lang="en-GB" sz="1000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vailable at: </a:t>
            </a:r>
            <a:r>
              <a:rPr lang="en-GB" sz="1000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  <a:hlinkClick r:id="rId2"/>
              </a:rPr>
              <a:t>http://www.worldgastroenterology.org/guidelines/global-guidelines</a:t>
            </a:r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  <a:hlinkClick r:id="rId2"/>
              </a:rPr>
              <a:t>/nafld-nash</a:t>
            </a:r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[last accessed June 2023]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220486-7684-2EB8-7CD2-A22C7185F099}"/>
              </a:ext>
            </a:extLst>
          </p:cNvPr>
          <p:cNvSpPr txBox="1">
            <a:spLocks/>
          </p:cNvSpPr>
          <p:nvPr/>
        </p:nvSpPr>
        <p:spPr>
          <a:xfrm>
            <a:off x="384417" y="316328"/>
            <a:ext cx="11362660" cy="4585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GB" dirty="0"/>
              <a:t>Liver Biopsy: the imperfect gold standard </a:t>
            </a:r>
          </a:p>
        </p:txBody>
      </p:sp>
    </p:spTree>
    <p:extLst>
      <p:ext uri="{BB962C8B-B14F-4D97-AF65-F5344CB8AC3E}">
        <p14:creationId xmlns:p14="http://schemas.microsoft.com/office/powerpoint/2010/main" val="255307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McaJwP4vOszJgGALgzBg"/>
</p:tagLst>
</file>

<file path=ppt/theme/theme1.xml><?xml version="1.0" encoding="utf-8"?>
<a:theme xmlns:a="http://schemas.openxmlformats.org/drawingml/2006/main" name="9_Thème Office">
  <a:themeElements>
    <a:clrScheme name="Sanofi Liver Forum">
      <a:dk1>
        <a:srgbClr val="000000"/>
      </a:dk1>
      <a:lt1>
        <a:sysClr val="window" lastClr="FFFFFF"/>
      </a:lt1>
      <a:dk2>
        <a:srgbClr val="9D9E9C"/>
      </a:dk2>
      <a:lt2>
        <a:srgbClr val="E7E6E6"/>
      </a:lt2>
      <a:accent1>
        <a:srgbClr val="F39325"/>
      </a:accent1>
      <a:accent2>
        <a:srgbClr val="A63D16"/>
      </a:accent2>
      <a:accent3>
        <a:srgbClr val="DC6413"/>
      </a:accent3>
      <a:accent4>
        <a:srgbClr val="FBBB21"/>
      </a:accent4>
      <a:accent5>
        <a:srgbClr val="DC6413"/>
      </a:accent5>
      <a:accent6>
        <a:srgbClr val="F39325"/>
      </a:accent6>
      <a:hlink>
        <a:srgbClr val="A63D16"/>
      </a:hlink>
      <a:folHlink>
        <a:srgbClr val="F3932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accent6"/>
          </a:solidFill>
        </a:ln>
        <a:effectLst/>
      </a:spPr>
      <a:bodyPr rtlCol="0" anchor="ctr"/>
      <a:lstStyle>
        <a:defPPr algn="ctr">
          <a:defRPr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7e6d6b6-e371-4544-a272-7c9db9583830" xsi:nil="true"/>
    <lcf76f155ced4ddcb4097134ff3c332f xmlns="972d9921-fd6b-4fd9-b060-4fea0b8b6191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01BDCEEAFF7145A726733A96431DF3" ma:contentTypeVersion="16" ma:contentTypeDescription="Create a new document." ma:contentTypeScope="" ma:versionID="3c3878356ad1c65f04b2e74c0733d674">
  <xsd:schema xmlns:xsd="http://www.w3.org/2001/XMLSchema" xmlns:xs="http://www.w3.org/2001/XMLSchema" xmlns:p="http://schemas.microsoft.com/office/2006/metadata/properties" xmlns:ns2="972d9921-fd6b-4fd9-b060-4fea0b8b6191" xmlns:ns3="f7e6d6b6-e371-4544-a272-7c9db9583830" targetNamespace="http://schemas.microsoft.com/office/2006/metadata/properties" ma:root="true" ma:fieldsID="2f42b745c97210aeee00f50ceb60d93c" ns2:_="" ns3:_="">
    <xsd:import namespace="972d9921-fd6b-4fd9-b060-4fea0b8b6191"/>
    <xsd:import namespace="f7e6d6b6-e371-4544-a272-7c9db95838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2d9921-fd6b-4fd9-b060-4fea0b8b61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4fb0b088-da3c-47ed-872c-fc1360427a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e6d6b6-e371-4544-a272-7c9db958383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120c0776-9da0-497a-9fec-2316ca7dcee7}" ma:internalName="TaxCatchAll" ma:showField="CatchAllData" ma:web="f7e6d6b6-e371-4544-a272-7c9db95838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233FA30-207B-4BC8-8B56-421DC8724280}">
  <ds:schemaRefs>
    <ds:schemaRef ds:uri="http://schemas.microsoft.com/office/2006/metadata/properties"/>
    <ds:schemaRef ds:uri="http://schemas.microsoft.com/office/infopath/2007/PartnerControls"/>
    <ds:schemaRef ds:uri="5f273fc7-18a2-40a6-87be-02238c84aa1d"/>
    <ds:schemaRef ds:uri="592ce88b-3d2e-4750-92e3-b404969ca63a"/>
  </ds:schemaRefs>
</ds:datastoreItem>
</file>

<file path=customXml/itemProps2.xml><?xml version="1.0" encoding="utf-8"?>
<ds:datastoreItem xmlns:ds="http://schemas.openxmlformats.org/officeDocument/2006/customXml" ds:itemID="{D4C7989B-4B10-4EF0-9309-0EFC2C44F726}"/>
</file>

<file path=customXml/itemProps3.xml><?xml version="1.0" encoding="utf-8"?>
<ds:datastoreItem xmlns:ds="http://schemas.openxmlformats.org/officeDocument/2006/customXml" ds:itemID="{13B4DC72-DDDE-493F-877F-362E927956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037</Words>
  <Application>Microsoft Office PowerPoint</Application>
  <PresentationFormat>Widescreen</PresentationFormat>
  <Paragraphs>448</Paragraphs>
  <Slides>22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9_Thème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PL for MAFLD associated with metabolic syndrome: A systematic review and network meta-analysi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dical Writer</dc:creator>
  <cp:lastModifiedBy>Mali, Yogesh /IN</cp:lastModifiedBy>
  <cp:revision>27</cp:revision>
  <dcterms:created xsi:type="dcterms:W3CDTF">2023-04-21T12:33:13Z</dcterms:created>
  <dcterms:modified xsi:type="dcterms:W3CDTF">2023-09-14T08:1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12E611EC35D743B3D9BA785C61CD0C</vt:lpwstr>
  </property>
  <property fmtid="{D5CDD505-2E9C-101B-9397-08002B2CF9AE}" pid="3" name="MSIP_Label_9e3dcb88-8425-4e1d-b1a3-bd5572915bbc_Enabled">
    <vt:lpwstr>true</vt:lpwstr>
  </property>
  <property fmtid="{D5CDD505-2E9C-101B-9397-08002B2CF9AE}" pid="4" name="MSIP_Label_9e3dcb88-8425-4e1d-b1a3-bd5572915bbc_SetDate">
    <vt:lpwstr>2023-09-14T08:11:17Z</vt:lpwstr>
  </property>
  <property fmtid="{D5CDD505-2E9C-101B-9397-08002B2CF9AE}" pid="5" name="MSIP_Label_9e3dcb88-8425-4e1d-b1a3-bd5572915bbc_Method">
    <vt:lpwstr>Privileged</vt:lpwstr>
  </property>
  <property fmtid="{D5CDD505-2E9C-101B-9397-08002B2CF9AE}" pid="6" name="MSIP_Label_9e3dcb88-8425-4e1d-b1a3-bd5572915bbc_Name">
    <vt:lpwstr>Internal</vt:lpwstr>
  </property>
  <property fmtid="{D5CDD505-2E9C-101B-9397-08002B2CF9AE}" pid="7" name="MSIP_Label_9e3dcb88-8425-4e1d-b1a3-bd5572915bbc_SiteId">
    <vt:lpwstr>aca3c8d6-aa71-4e1a-a10e-03572fc58c0b</vt:lpwstr>
  </property>
  <property fmtid="{D5CDD505-2E9C-101B-9397-08002B2CF9AE}" pid="8" name="MSIP_Label_9e3dcb88-8425-4e1d-b1a3-bd5572915bbc_ActionId">
    <vt:lpwstr>bb29b5f3-881b-429b-834d-c13aeeaa6193</vt:lpwstr>
  </property>
  <property fmtid="{D5CDD505-2E9C-101B-9397-08002B2CF9AE}" pid="9" name="MSIP_Label_9e3dcb88-8425-4e1d-b1a3-bd5572915bbc_ContentBits">
    <vt:lpwstr>1</vt:lpwstr>
  </property>
  <property fmtid="{D5CDD505-2E9C-101B-9397-08002B2CF9AE}" pid="10" name="ClassificationContentMarkingHeaderLocations">
    <vt:lpwstr>9_Thème Office:10</vt:lpwstr>
  </property>
  <property fmtid="{D5CDD505-2E9C-101B-9397-08002B2CF9AE}" pid="11" name="ClassificationContentMarkingHeaderText">
    <vt:lpwstr>Internal</vt:lpwstr>
  </property>
  <property fmtid="{D5CDD505-2E9C-101B-9397-08002B2CF9AE}" pid="12" name="MediaServiceImageTags">
    <vt:lpwstr/>
  </property>
</Properties>
</file>